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4"/>
  </p:notesMasterIdLst>
  <p:handoutMasterIdLst>
    <p:handoutMasterId r:id="rId9"/>
  </p:handoutMasterIdLst>
  <p:sldIdLst>
    <p:sldId id="257" r:id="rId3"/>
    <p:sldId id="1549" r:id="rId5"/>
    <p:sldId id="4098888" r:id="rId6"/>
    <p:sldId id="4098889" r:id="rId7"/>
    <p:sldId id="1548" r:id="rId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37"/>
    <p:restoredTop sz="94618"/>
  </p:normalViewPr>
  <p:slideViewPr>
    <p:cSldViewPr snapToGrid="0" snapToObjects="1">
      <p:cViewPr varScale="1">
        <p:scale>
          <a:sx n="76" d="100"/>
          <a:sy n="76" d="100"/>
        </p:scale>
        <p:origin x="20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2596A3-19BC-F141-91CE-DDB51EF8BD5A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4D538D-8751-D642-B834-E9AE97F7F56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69E39-28EC-443C-ABD8-9F4083C6EE8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91390-1545-2B4B-8D60-A440F48A2E73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  <p:grpSp>
        <p:nvGrpSpPr>
          <p:cNvPr id="7" name="组 6"/>
          <p:cNvGrpSpPr/>
          <p:nvPr userDrawn="1"/>
        </p:nvGrpSpPr>
        <p:grpSpPr>
          <a:xfrm>
            <a:off x="-1" y="-1"/>
            <a:ext cx="12192001" cy="6875847"/>
            <a:chOff x="-1" y="-1"/>
            <a:chExt cx="12192001" cy="6875847"/>
          </a:xfrm>
        </p:grpSpPr>
        <p:grpSp>
          <p:nvGrpSpPr>
            <p:cNvPr id="8" name="组 7"/>
            <p:cNvGrpSpPr/>
            <p:nvPr/>
          </p:nvGrpSpPr>
          <p:grpSpPr>
            <a:xfrm>
              <a:off x="-1" y="-1"/>
              <a:ext cx="12192001" cy="6875847"/>
              <a:chOff x="-1" y="-1"/>
              <a:chExt cx="12192001" cy="6875847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0" y="-1"/>
                <a:ext cx="12192000" cy="6875847"/>
              </a:xfrm>
              <a:prstGeom prst="rect">
                <a:avLst/>
              </a:prstGeom>
              <a:solidFill>
                <a:srgbClr val="1D4DA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kumimoji="1" lang="zh-CN" altLang="en-US" sz="1400" dirty="0" err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11" name="组 10"/>
              <p:cNvGrpSpPr/>
              <p:nvPr/>
            </p:nvGrpSpPr>
            <p:grpSpPr>
              <a:xfrm>
                <a:off x="-1" y="0"/>
                <a:ext cx="1826747" cy="2142275"/>
                <a:chOff x="-1" y="0"/>
                <a:chExt cx="2035277" cy="2386824"/>
              </a:xfrm>
            </p:grpSpPr>
            <p:sp>
              <p:nvSpPr>
                <p:cNvPr id="16" name="任意多边形: 形状 4"/>
                <p:cNvSpPr/>
                <p:nvPr/>
              </p:nvSpPr>
              <p:spPr>
                <a:xfrm>
                  <a:off x="-1" y="0"/>
                  <a:ext cx="1750338" cy="2052669"/>
                </a:xfrm>
                <a:custGeom>
                  <a:avLst/>
                  <a:gdLst>
                    <a:gd name="connsiteX0" fmla="*/ 781050 w 2095500"/>
                    <a:gd name="connsiteY0" fmla="*/ 0 h 2457450"/>
                    <a:gd name="connsiteX1" fmla="*/ 0 w 2095500"/>
                    <a:gd name="connsiteY1" fmla="*/ 1771650 h 2457450"/>
                    <a:gd name="connsiteX2" fmla="*/ 0 w 2095500"/>
                    <a:gd name="connsiteY2" fmla="*/ 2457450 h 2457450"/>
                    <a:gd name="connsiteX3" fmla="*/ 2095500 w 2095500"/>
                    <a:gd name="connsiteY3" fmla="*/ 0 h 2457450"/>
                    <a:gd name="connsiteX4" fmla="*/ 781050 w 2095500"/>
                    <a:gd name="connsiteY4" fmla="*/ 0 h 2457450"/>
                    <a:gd name="connsiteX0-1" fmla="*/ 781050 w 2095500"/>
                    <a:gd name="connsiteY0-2" fmla="*/ 0 h 2457450"/>
                    <a:gd name="connsiteX1-3" fmla="*/ 0 w 2095500"/>
                    <a:gd name="connsiteY1-4" fmla="*/ 1771650 h 2457450"/>
                    <a:gd name="connsiteX2-5" fmla="*/ 0 w 2095500"/>
                    <a:gd name="connsiteY2-6" fmla="*/ 2457450 h 2457450"/>
                    <a:gd name="connsiteX3-7" fmla="*/ 2095500 w 2095500"/>
                    <a:gd name="connsiteY3-8" fmla="*/ 0 h 2457450"/>
                    <a:gd name="connsiteX4-9" fmla="*/ 781050 w 2095500"/>
                    <a:gd name="connsiteY4-10" fmla="*/ 0 h 2457450"/>
                    <a:gd name="connsiteX0-11" fmla="*/ 781050 w 2095500"/>
                    <a:gd name="connsiteY0-12" fmla="*/ 0 h 2457450"/>
                    <a:gd name="connsiteX1-13" fmla="*/ 0 w 2095500"/>
                    <a:gd name="connsiteY1-14" fmla="*/ 1771650 h 2457450"/>
                    <a:gd name="connsiteX2-15" fmla="*/ 0 w 2095500"/>
                    <a:gd name="connsiteY2-16" fmla="*/ 2457450 h 2457450"/>
                    <a:gd name="connsiteX3-17" fmla="*/ 2095500 w 2095500"/>
                    <a:gd name="connsiteY3-18" fmla="*/ 0 h 2457450"/>
                    <a:gd name="connsiteX4-19" fmla="*/ 781050 w 2095500"/>
                    <a:gd name="connsiteY4-20" fmla="*/ 0 h 2457450"/>
                    <a:gd name="connsiteX0-21" fmla="*/ 781050 w 2095500"/>
                    <a:gd name="connsiteY0-22" fmla="*/ 0 h 2457450"/>
                    <a:gd name="connsiteX1-23" fmla="*/ 0 w 2095500"/>
                    <a:gd name="connsiteY1-24" fmla="*/ 1771650 h 2457450"/>
                    <a:gd name="connsiteX2-25" fmla="*/ 0 w 2095500"/>
                    <a:gd name="connsiteY2-26" fmla="*/ 2457450 h 2457450"/>
                    <a:gd name="connsiteX3-27" fmla="*/ 2095500 w 2095500"/>
                    <a:gd name="connsiteY3-28" fmla="*/ 0 h 2457450"/>
                    <a:gd name="connsiteX4-29" fmla="*/ 781050 w 2095500"/>
                    <a:gd name="connsiteY4-30" fmla="*/ 0 h 2457450"/>
                    <a:gd name="connsiteX0-31" fmla="*/ 781050 w 2095500"/>
                    <a:gd name="connsiteY0-32" fmla="*/ 0 h 2457450"/>
                    <a:gd name="connsiteX1-33" fmla="*/ 0 w 2095500"/>
                    <a:gd name="connsiteY1-34" fmla="*/ 1771650 h 2457450"/>
                    <a:gd name="connsiteX2-35" fmla="*/ 0 w 2095500"/>
                    <a:gd name="connsiteY2-36" fmla="*/ 2457450 h 2457450"/>
                    <a:gd name="connsiteX3-37" fmla="*/ 2095500 w 2095500"/>
                    <a:gd name="connsiteY3-38" fmla="*/ 0 h 2457450"/>
                    <a:gd name="connsiteX4-39" fmla="*/ 781050 w 2095500"/>
                    <a:gd name="connsiteY4-40" fmla="*/ 0 h 2457450"/>
                    <a:gd name="connsiteX0-41" fmla="*/ 781050 w 2095500"/>
                    <a:gd name="connsiteY0-42" fmla="*/ 0 h 2457450"/>
                    <a:gd name="connsiteX1-43" fmla="*/ 0 w 2095500"/>
                    <a:gd name="connsiteY1-44" fmla="*/ 1771650 h 2457450"/>
                    <a:gd name="connsiteX2-45" fmla="*/ 0 w 2095500"/>
                    <a:gd name="connsiteY2-46" fmla="*/ 2457450 h 2457450"/>
                    <a:gd name="connsiteX3-47" fmla="*/ 2095500 w 2095500"/>
                    <a:gd name="connsiteY3-48" fmla="*/ 0 h 2457450"/>
                    <a:gd name="connsiteX4-49" fmla="*/ 781050 w 2095500"/>
                    <a:gd name="connsiteY4-50" fmla="*/ 0 h 2457450"/>
                    <a:gd name="connsiteX0-51" fmla="*/ 781050 w 2095500"/>
                    <a:gd name="connsiteY0-52" fmla="*/ 0 h 2457450"/>
                    <a:gd name="connsiteX1-53" fmla="*/ 0 w 2095500"/>
                    <a:gd name="connsiteY1-54" fmla="*/ 1771650 h 2457450"/>
                    <a:gd name="connsiteX2-55" fmla="*/ 0 w 2095500"/>
                    <a:gd name="connsiteY2-56" fmla="*/ 2457450 h 2457450"/>
                    <a:gd name="connsiteX3-57" fmla="*/ 2095500 w 2095500"/>
                    <a:gd name="connsiteY3-58" fmla="*/ 0 h 2457450"/>
                    <a:gd name="connsiteX4-59" fmla="*/ 781050 w 2095500"/>
                    <a:gd name="connsiteY4-60" fmla="*/ 0 h 2457450"/>
                    <a:gd name="connsiteX0-61" fmla="*/ 781050 w 2095500"/>
                    <a:gd name="connsiteY0-62" fmla="*/ 0 h 2457450"/>
                    <a:gd name="connsiteX1-63" fmla="*/ 0 w 2095500"/>
                    <a:gd name="connsiteY1-64" fmla="*/ 1771650 h 2457450"/>
                    <a:gd name="connsiteX2-65" fmla="*/ 0 w 2095500"/>
                    <a:gd name="connsiteY2-66" fmla="*/ 2457450 h 2457450"/>
                    <a:gd name="connsiteX3-67" fmla="*/ 2095500 w 2095500"/>
                    <a:gd name="connsiteY3-68" fmla="*/ 0 h 2457450"/>
                    <a:gd name="connsiteX4-69" fmla="*/ 781050 w 2095500"/>
                    <a:gd name="connsiteY4-70" fmla="*/ 0 h 2457450"/>
                    <a:gd name="connsiteX0-71" fmla="*/ 781050 w 2095500"/>
                    <a:gd name="connsiteY0-72" fmla="*/ 0 h 2457450"/>
                    <a:gd name="connsiteX1-73" fmla="*/ 0 w 2095500"/>
                    <a:gd name="connsiteY1-74" fmla="*/ 1771650 h 2457450"/>
                    <a:gd name="connsiteX2-75" fmla="*/ 0 w 2095500"/>
                    <a:gd name="connsiteY2-76" fmla="*/ 2457450 h 2457450"/>
                    <a:gd name="connsiteX3-77" fmla="*/ 2095500 w 2095500"/>
                    <a:gd name="connsiteY3-78" fmla="*/ 0 h 2457450"/>
                    <a:gd name="connsiteX4-79" fmla="*/ 781050 w 2095500"/>
                    <a:gd name="connsiteY4-80" fmla="*/ 0 h 2457450"/>
                    <a:gd name="connsiteX0-81" fmla="*/ 781050 w 2095500"/>
                    <a:gd name="connsiteY0-82" fmla="*/ 0 h 2457450"/>
                    <a:gd name="connsiteX1-83" fmla="*/ 0 w 2095500"/>
                    <a:gd name="connsiteY1-84" fmla="*/ 1771650 h 2457450"/>
                    <a:gd name="connsiteX2-85" fmla="*/ 0 w 2095500"/>
                    <a:gd name="connsiteY2-86" fmla="*/ 2457450 h 2457450"/>
                    <a:gd name="connsiteX3-87" fmla="*/ 2095500 w 2095500"/>
                    <a:gd name="connsiteY3-88" fmla="*/ 0 h 2457450"/>
                    <a:gd name="connsiteX4-89" fmla="*/ 781050 w 2095500"/>
                    <a:gd name="connsiteY4-90" fmla="*/ 0 h 245745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95500" h="2457450">
                      <a:moveTo>
                        <a:pt x="781050" y="0"/>
                      </a:moveTo>
                      <a:cubicBezTo>
                        <a:pt x="590550" y="1035050"/>
                        <a:pt x="412750" y="1168400"/>
                        <a:pt x="0" y="1771650"/>
                      </a:cubicBezTo>
                      <a:lnTo>
                        <a:pt x="0" y="2457450"/>
                      </a:lnTo>
                      <a:cubicBezTo>
                        <a:pt x="1422400" y="1536700"/>
                        <a:pt x="1841500" y="577850"/>
                        <a:pt x="2095500" y="0"/>
                      </a:cubicBezTo>
                      <a:lnTo>
                        <a:pt x="781050" y="0"/>
                      </a:lnTo>
                      <a:close/>
                    </a:path>
                  </a:pathLst>
                </a:custGeom>
                <a:solidFill>
                  <a:srgbClr val="3C8C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7" name="任意多边形: 形状 12"/>
                <p:cNvSpPr/>
                <p:nvPr/>
              </p:nvSpPr>
              <p:spPr>
                <a:xfrm>
                  <a:off x="-1" y="0"/>
                  <a:ext cx="2035277" cy="2386824"/>
                </a:xfrm>
                <a:custGeom>
                  <a:avLst/>
                  <a:gdLst>
                    <a:gd name="connsiteX0" fmla="*/ 781050 w 2095500"/>
                    <a:gd name="connsiteY0" fmla="*/ 0 h 2457450"/>
                    <a:gd name="connsiteX1" fmla="*/ 0 w 2095500"/>
                    <a:gd name="connsiteY1" fmla="*/ 1771650 h 2457450"/>
                    <a:gd name="connsiteX2" fmla="*/ 0 w 2095500"/>
                    <a:gd name="connsiteY2" fmla="*/ 2457450 h 2457450"/>
                    <a:gd name="connsiteX3" fmla="*/ 2095500 w 2095500"/>
                    <a:gd name="connsiteY3" fmla="*/ 0 h 2457450"/>
                    <a:gd name="connsiteX4" fmla="*/ 781050 w 2095500"/>
                    <a:gd name="connsiteY4" fmla="*/ 0 h 2457450"/>
                    <a:gd name="connsiteX0-1" fmla="*/ 781050 w 2095500"/>
                    <a:gd name="connsiteY0-2" fmla="*/ 0 h 2457450"/>
                    <a:gd name="connsiteX1-3" fmla="*/ 0 w 2095500"/>
                    <a:gd name="connsiteY1-4" fmla="*/ 1771650 h 2457450"/>
                    <a:gd name="connsiteX2-5" fmla="*/ 0 w 2095500"/>
                    <a:gd name="connsiteY2-6" fmla="*/ 2457450 h 2457450"/>
                    <a:gd name="connsiteX3-7" fmla="*/ 2095500 w 2095500"/>
                    <a:gd name="connsiteY3-8" fmla="*/ 0 h 2457450"/>
                    <a:gd name="connsiteX4-9" fmla="*/ 781050 w 2095500"/>
                    <a:gd name="connsiteY4-10" fmla="*/ 0 h 2457450"/>
                    <a:gd name="connsiteX0-11" fmla="*/ 781050 w 2095500"/>
                    <a:gd name="connsiteY0-12" fmla="*/ 0 h 2457450"/>
                    <a:gd name="connsiteX1-13" fmla="*/ 0 w 2095500"/>
                    <a:gd name="connsiteY1-14" fmla="*/ 1771650 h 2457450"/>
                    <a:gd name="connsiteX2-15" fmla="*/ 0 w 2095500"/>
                    <a:gd name="connsiteY2-16" fmla="*/ 2457450 h 2457450"/>
                    <a:gd name="connsiteX3-17" fmla="*/ 2095500 w 2095500"/>
                    <a:gd name="connsiteY3-18" fmla="*/ 0 h 2457450"/>
                    <a:gd name="connsiteX4-19" fmla="*/ 781050 w 2095500"/>
                    <a:gd name="connsiteY4-20" fmla="*/ 0 h 2457450"/>
                    <a:gd name="connsiteX0-21" fmla="*/ 781050 w 2095500"/>
                    <a:gd name="connsiteY0-22" fmla="*/ 0 h 2457450"/>
                    <a:gd name="connsiteX1-23" fmla="*/ 0 w 2095500"/>
                    <a:gd name="connsiteY1-24" fmla="*/ 1771650 h 2457450"/>
                    <a:gd name="connsiteX2-25" fmla="*/ 0 w 2095500"/>
                    <a:gd name="connsiteY2-26" fmla="*/ 2457450 h 2457450"/>
                    <a:gd name="connsiteX3-27" fmla="*/ 2095500 w 2095500"/>
                    <a:gd name="connsiteY3-28" fmla="*/ 0 h 2457450"/>
                    <a:gd name="connsiteX4-29" fmla="*/ 781050 w 2095500"/>
                    <a:gd name="connsiteY4-30" fmla="*/ 0 h 2457450"/>
                    <a:gd name="connsiteX0-31" fmla="*/ 781050 w 2095500"/>
                    <a:gd name="connsiteY0-32" fmla="*/ 0 h 2457450"/>
                    <a:gd name="connsiteX1-33" fmla="*/ 0 w 2095500"/>
                    <a:gd name="connsiteY1-34" fmla="*/ 1771650 h 2457450"/>
                    <a:gd name="connsiteX2-35" fmla="*/ 0 w 2095500"/>
                    <a:gd name="connsiteY2-36" fmla="*/ 2457450 h 2457450"/>
                    <a:gd name="connsiteX3-37" fmla="*/ 2095500 w 2095500"/>
                    <a:gd name="connsiteY3-38" fmla="*/ 0 h 2457450"/>
                    <a:gd name="connsiteX4-39" fmla="*/ 781050 w 2095500"/>
                    <a:gd name="connsiteY4-40" fmla="*/ 0 h 2457450"/>
                    <a:gd name="connsiteX0-41" fmla="*/ 781050 w 2095500"/>
                    <a:gd name="connsiteY0-42" fmla="*/ 0 h 2457450"/>
                    <a:gd name="connsiteX1-43" fmla="*/ 0 w 2095500"/>
                    <a:gd name="connsiteY1-44" fmla="*/ 1771650 h 2457450"/>
                    <a:gd name="connsiteX2-45" fmla="*/ 0 w 2095500"/>
                    <a:gd name="connsiteY2-46" fmla="*/ 2457450 h 2457450"/>
                    <a:gd name="connsiteX3-47" fmla="*/ 2095500 w 2095500"/>
                    <a:gd name="connsiteY3-48" fmla="*/ 0 h 2457450"/>
                    <a:gd name="connsiteX4-49" fmla="*/ 781050 w 2095500"/>
                    <a:gd name="connsiteY4-50" fmla="*/ 0 h 2457450"/>
                    <a:gd name="connsiteX0-51" fmla="*/ 781050 w 2095500"/>
                    <a:gd name="connsiteY0-52" fmla="*/ 0 h 2457450"/>
                    <a:gd name="connsiteX1-53" fmla="*/ 0 w 2095500"/>
                    <a:gd name="connsiteY1-54" fmla="*/ 1771650 h 2457450"/>
                    <a:gd name="connsiteX2-55" fmla="*/ 0 w 2095500"/>
                    <a:gd name="connsiteY2-56" fmla="*/ 2457450 h 2457450"/>
                    <a:gd name="connsiteX3-57" fmla="*/ 2095500 w 2095500"/>
                    <a:gd name="connsiteY3-58" fmla="*/ 0 h 2457450"/>
                    <a:gd name="connsiteX4-59" fmla="*/ 781050 w 2095500"/>
                    <a:gd name="connsiteY4-60" fmla="*/ 0 h 2457450"/>
                    <a:gd name="connsiteX0-61" fmla="*/ 781050 w 2095500"/>
                    <a:gd name="connsiteY0-62" fmla="*/ 0 h 2457450"/>
                    <a:gd name="connsiteX1-63" fmla="*/ 0 w 2095500"/>
                    <a:gd name="connsiteY1-64" fmla="*/ 1771650 h 2457450"/>
                    <a:gd name="connsiteX2-65" fmla="*/ 0 w 2095500"/>
                    <a:gd name="connsiteY2-66" fmla="*/ 2457450 h 2457450"/>
                    <a:gd name="connsiteX3-67" fmla="*/ 2095500 w 2095500"/>
                    <a:gd name="connsiteY3-68" fmla="*/ 0 h 2457450"/>
                    <a:gd name="connsiteX4-69" fmla="*/ 781050 w 2095500"/>
                    <a:gd name="connsiteY4-70" fmla="*/ 0 h 2457450"/>
                    <a:gd name="connsiteX0-71" fmla="*/ 781050 w 2095500"/>
                    <a:gd name="connsiteY0-72" fmla="*/ 0 h 2457450"/>
                    <a:gd name="connsiteX1-73" fmla="*/ 0 w 2095500"/>
                    <a:gd name="connsiteY1-74" fmla="*/ 1771650 h 2457450"/>
                    <a:gd name="connsiteX2-75" fmla="*/ 0 w 2095500"/>
                    <a:gd name="connsiteY2-76" fmla="*/ 2457450 h 2457450"/>
                    <a:gd name="connsiteX3-77" fmla="*/ 2095500 w 2095500"/>
                    <a:gd name="connsiteY3-78" fmla="*/ 0 h 2457450"/>
                    <a:gd name="connsiteX4-79" fmla="*/ 781050 w 2095500"/>
                    <a:gd name="connsiteY4-80" fmla="*/ 0 h 2457450"/>
                    <a:gd name="connsiteX0-81" fmla="*/ 781050 w 2095500"/>
                    <a:gd name="connsiteY0-82" fmla="*/ 0 h 2457450"/>
                    <a:gd name="connsiteX1-83" fmla="*/ 0 w 2095500"/>
                    <a:gd name="connsiteY1-84" fmla="*/ 1771650 h 2457450"/>
                    <a:gd name="connsiteX2-85" fmla="*/ 0 w 2095500"/>
                    <a:gd name="connsiteY2-86" fmla="*/ 2457450 h 2457450"/>
                    <a:gd name="connsiteX3-87" fmla="*/ 2095500 w 2095500"/>
                    <a:gd name="connsiteY3-88" fmla="*/ 0 h 2457450"/>
                    <a:gd name="connsiteX4-89" fmla="*/ 781050 w 2095500"/>
                    <a:gd name="connsiteY4-90" fmla="*/ 0 h 245745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95500" h="2457450">
                      <a:moveTo>
                        <a:pt x="781050" y="0"/>
                      </a:moveTo>
                      <a:cubicBezTo>
                        <a:pt x="590550" y="1035050"/>
                        <a:pt x="412750" y="1168400"/>
                        <a:pt x="0" y="1771650"/>
                      </a:cubicBezTo>
                      <a:lnTo>
                        <a:pt x="0" y="2457450"/>
                      </a:lnTo>
                      <a:cubicBezTo>
                        <a:pt x="1422400" y="1536700"/>
                        <a:pt x="1841500" y="577850"/>
                        <a:pt x="2095500" y="0"/>
                      </a:cubicBezTo>
                      <a:lnTo>
                        <a:pt x="78105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53FCBF"/>
                    </a:gs>
                    <a:gs pos="100000">
                      <a:srgbClr val="00D3FF"/>
                    </a:gs>
                  </a:gsLst>
                  <a:lin ang="81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" name="任意多边形: 形状 35"/>
              <p:cNvSpPr/>
              <p:nvPr/>
            </p:nvSpPr>
            <p:spPr>
              <a:xfrm>
                <a:off x="771188" y="17845"/>
                <a:ext cx="8628509" cy="6858001"/>
              </a:xfrm>
              <a:custGeom>
                <a:avLst/>
                <a:gdLst>
                  <a:gd name="connsiteX0" fmla="*/ 3333135 w 8672052"/>
                  <a:gd name="connsiteY0" fmla="*/ 0 h 6931742"/>
                  <a:gd name="connsiteX1" fmla="*/ 0 w 8672052"/>
                  <a:gd name="connsiteY1" fmla="*/ 6931742 h 6931742"/>
                  <a:gd name="connsiteX2" fmla="*/ 2861187 w 8672052"/>
                  <a:gd name="connsiteY2" fmla="*/ 6843251 h 6931742"/>
                  <a:gd name="connsiteX3" fmla="*/ 8672052 w 8672052"/>
                  <a:gd name="connsiteY3" fmla="*/ 58993 h 6931742"/>
                  <a:gd name="connsiteX4" fmla="*/ 3333135 w 8672052"/>
                  <a:gd name="connsiteY4" fmla="*/ 0 h 6931742"/>
                  <a:gd name="connsiteX0-1" fmla="*/ 3304106 w 8643023"/>
                  <a:gd name="connsiteY0-2" fmla="*/ 0 h 6873685"/>
                  <a:gd name="connsiteX1-3" fmla="*/ 0 w 8643023"/>
                  <a:gd name="connsiteY1-4" fmla="*/ 6873685 h 6873685"/>
                  <a:gd name="connsiteX2-5" fmla="*/ 2832158 w 8643023"/>
                  <a:gd name="connsiteY2-6" fmla="*/ 6843251 h 6873685"/>
                  <a:gd name="connsiteX3-7" fmla="*/ 8643023 w 8643023"/>
                  <a:gd name="connsiteY3-8" fmla="*/ 58993 h 6873685"/>
                  <a:gd name="connsiteX4-9" fmla="*/ 3304106 w 8643023"/>
                  <a:gd name="connsiteY4-10" fmla="*/ 0 h 6873685"/>
                  <a:gd name="connsiteX0-11" fmla="*/ 3304106 w 8643023"/>
                  <a:gd name="connsiteY0-12" fmla="*/ 0 h 6886794"/>
                  <a:gd name="connsiteX1-13" fmla="*/ 0 w 8643023"/>
                  <a:gd name="connsiteY1-14" fmla="*/ 6873685 h 6886794"/>
                  <a:gd name="connsiteX2-15" fmla="*/ 2832158 w 8643023"/>
                  <a:gd name="connsiteY2-16" fmla="*/ 6886794 h 6886794"/>
                  <a:gd name="connsiteX3-17" fmla="*/ 8643023 w 8643023"/>
                  <a:gd name="connsiteY3-18" fmla="*/ 58993 h 6886794"/>
                  <a:gd name="connsiteX4-19" fmla="*/ 3304106 w 8643023"/>
                  <a:gd name="connsiteY4-20" fmla="*/ 0 h 6886794"/>
                  <a:gd name="connsiteX0-21" fmla="*/ 3304106 w 8643023"/>
                  <a:gd name="connsiteY0-22" fmla="*/ 0 h 6873685"/>
                  <a:gd name="connsiteX1-23" fmla="*/ 0 w 8643023"/>
                  <a:gd name="connsiteY1-24" fmla="*/ 6873685 h 6873685"/>
                  <a:gd name="connsiteX2-25" fmla="*/ 2832158 w 8643023"/>
                  <a:gd name="connsiteY2-26" fmla="*/ 6857765 h 6873685"/>
                  <a:gd name="connsiteX3-27" fmla="*/ 8643023 w 8643023"/>
                  <a:gd name="connsiteY3-28" fmla="*/ 58993 h 6873685"/>
                  <a:gd name="connsiteX4-29" fmla="*/ 3304106 w 8643023"/>
                  <a:gd name="connsiteY4-30" fmla="*/ 0 h 6873685"/>
                  <a:gd name="connsiteX0-31" fmla="*/ 3289592 w 8628509"/>
                  <a:gd name="connsiteY0-32" fmla="*/ 0 h 6859171"/>
                  <a:gd name="connsiteX1-33" fmla="*/ 0 w 8628509"/>
                  <a:gd name="connsiteY1-34" fmla="*/ 6859171 h 6859171"/>
                  <a:gd name="connsiteX2-35" fmla="*/ 2817644 w 8628509"/>
                  <a:gd name="connsiteY2-36" fmla="*/ 6857765 h 6859171"/>
                  <a:gd name="connsiteX3-37" fmla="*/ 8628509 w 8628509"/>
                  <a:gd name="connsiteY3-38" fmla="*/ 58993 h 6859171"/>
                  <a:gd name="connsiteX4-39" fmla="*/ 3289592 w 8628509"/>
                  <a:gd name="connsiteY4-40" fmla="*/ 0 h 6859171"/>
                  <a:gd name="connsiteX0-41" fmla="*/ 3289592 w 8628509"/>
                  <a:gd name="connsiteY0-42" fmla="*/ 0 h 6859171"/>
                  <a:gd name="connsiteX1-43" fmla="*/ 0 w 8628509"/>
                  <a:gd name="connsiteY1-44" fmla="*/ 6859171 h 6859171"/>
                  <a:gd name="connsiteX2-45" fmla="*/ 2817644 w 8628509"/>
                  <a:gd name="connsiteY2-46" fmla="*/ 6857765 h 6859171"/>
                  <a:gd name="connsiteX3-47" fmla="*/ 8628509 w 8628509"/>
                  <a:gd name="connsiteY3-48" fmla="*/ 58993 h 6859171"/>
                  <a:gd name="connsiteX4-49" fmla="*/ 3289592 w 8628509"/>
                  <a:gd name="connsiteY4-50" fmla="*/ 0 h 6859171"/>
                  <a:gd name="connsiteX0-51" fmla="*/ 3289592 w 8628509"/>
                  <a:gd name="connsiteY0-52" fmla="*/ 0 h 6859171"/>
                  <a:gd name="connsiteX1-53" fmla="*/ 0 w 8628509"/>
                  <a:gd name="connsiteY1-54" fmla="*/ 6859171 h 6859171"/>
                  <a:gd name="connsiteX2-55" fmla="*/ 2817644 w 8628509"/>
                  <a:gd name="connsiteY2-56" fmla="*/ 6857765 h 6859171"/>
                  <a:gd name="connsiteX3-57" fmla="*/ 8628509 w 8628509"/>
                  <a:gd name="connsiteY3-58" fmla="*/ 58993 h 6859171"/>
                  <a:gd name="connsiteX4-59" fmla="*/ 3289592 w 8628509"/>
                  <a:gd name="connsiteY4-60" fmla="*/ 0 h 6859171"/>
                  <a:gd name="connsiteX0-61" fmla="*/ 3289592 w 8628509"/>
                  <a:gd name="connsiteY0-62" fmla="*/ 0 h 6859171"/>
                  <a:gd name="connsiteX1-63" fmla="*/ 0 w 8628509"/>
                  <a:gd name="connsiteY1-64" fmla="*/ 6859171 h 6859171"/>
                  <a:gd name="connsiteX2-65" fmla="*/ 2817644 w 8628509"/>
                  <a:gd name="connsiteY2-66" fmla="*/ 6857765 h 6859171"/>
                  <a:gd name="connsiteX3-67" fmla="*/ 8628509 w 8628509"/>
                  <a:gd name="connsiteY3-68" fmla="*/ 58993 h 6859171"/>
                  <a:gd name="connsiteX4-69" fmla="*/ 3289592 w 8628509"/>
                  <a:gd name="connsiteY4-70" fmla="*/ 0 h 6859171"/>
                  <a:gd name="connsiteX0-71" fmla="*/ 3289592 w 8628509"/>
                  <a:gd name="connsiteY0-72" fmla="*/ 0 h 6859171"/>
                  <a:gd name="connsiteX1-73" fmla="*/ 0 w 8628509"/>
                  <a:gd name="connsiteY1-74" fmla="*/ 6859171 h 6859171"/>
                  <a:gd name="connsiteX2-75" fmla="*/ 2817644 w 8628509"/>
                  <a:gd name="connsiteY2-76" fmla="*/ 6857765 h 6859171"/>
                  <a:gd name="connsiteX3-77" fmla="*/ 8628509 w 8628509"/>
                  <a:gd name="connsiteY3-78" fmla="*/ 58993 h 6859171"/>
                  <a:gd name="connsiteX4-79" fmla="*/ 3289592 w 8628509"/>
                  <a:gd name="connsiteY4-80" fmla="*/ 0 h 6859171"/>
                  <a:gd name="connsiteX0-81" fmla="*/ 3289592 w 8628509"/>
                  <a:gd name="connsiteY0-82" fmla="*/ 0 h 6859171"/>
                  <a:gd name="connsiteX1-83" fmla="*/ 0 w 8628509"/>
                  <a:gd name="connsiteY1-84" fmla="*/ 6859171 h 6859171"/>
                  <a:gd name="connsiteX2-85" fmla="*/ 2817644 w 8628509"/>
                  <a:gd name="connsiteY2-86" fmla="*/ 6857765 h 6859171"/>
                  <a:gd name="connsiteX3-87" fmla="*/ 8628509 w 8628509"/>
                  <a:gd name="connsiteY3-88" fmla="*/ 58993 h 6859171"/>
                  <a:gd name="connsiteX4-89" fmla="*/ 3289592 w 8628509"/>
                  <a:gd name="connsiteY4-90" fmla="*/ 0 h 6859171"/>
                  <a:gd name="connsiteX0-91" fmla="*/ 3289592 w 8628509"/>
                  <a:gd name="connsiteY0-92" fmla="*/ 0 h 6859171"/>
                  <a:gd name="connsiteX1-93" fmla="*/ 0 w 8628509"/>
                  <a:gd name="connsiteY1-94" fmla="*/ 6859171 h 6859171"/>
                  <a:gd name="connsiteX2-95" fmla="*/ 2817644 w 8628509"/>
                  <a:gd name="connsiteY2-96" fmla="*/ 6857765 h 6859171"/>
                  <a:gd name="connsiteX3-97" fmla="*/ 8628509 w 8628509"/>
                  <a:gd name="connsiteY3-98" fmla="*/ 58993 h 6859171"/>
                  <a:gd name="connsiteX4-99" fmla="*/ 3289592 w 8628509"/>
                  <a:gd name="connsiteY4-100" fmla="*/ 0 h 6859171"/>
                  <a:gd name="connsiteX0-101" fmla="*/ 3289592 w 8628509"/>
                  <a:gd name="connsiteY0-102" fmla="*/ 0 h 6859171"/>
                  <a:gd name="connsiteX1-103" fmla="*/ 0 w 8628509"/>
                  <a:gd name="connsiteY1-104" fmla="*/ 6859171 h 6859171"/>
                  <a:gd name="connsiteX2-105" fmla="*/ 2817644 w 8628509"/>
                  <a:gd name="connsiteY2-106" fmla="*/ 6857765 h 6859171"/>
                  <a:gd name="connsiteX3-107" fmla="*/ 8628509 w 8628509"/>
                  <a:gd name="connsiteY3-108" fmla="*/ 58993 h 6859171"/>
                  <a:gd name="connsiteX4-109" fmla="*/ 3289592 w 8628509"/>
                  <a:gd name="connsiteY4-110" fmla="*/ 0 h 6859171"/>
                  <a:gd name="connsiteX0-111" fmla="*/ 3302292 w 8628509"/>
                  <a:gd name="connsiteY0-112" fmla="*/ 0 h 6821071"/>
                  <a:gd name="connsiteX1-113" fmla="*/ 0 w 8628509"/>
                  <a:gd name="connsiteY1-114" fmla="*/ 6821071 h 6821071"/>
                  <a:gd name="connsiteX2-115" fmla="*/ 2817644 w 8628509"/>
                  <a:gd name="connsiteY2-116" fmla="*/ 6819665 h 6821071"/>
                  <a:gd name="connsiteX3-117" fmla="*/ 8628509 w 8628509"/>
                  <a:gd name="connsiteY3-118" fmla="*/ 20893 h 6821071"/>
                  <a:gd name="connsiteX4-119" fmla="*/ 3302292 w 8628509"/>
                  <a:gd name="connsiteY4-120" fmla="*/ 0 h 6821071"/>
                  <a:gd name="connsiteX0-121" fmla="*/ 3302292 w 8628509"/>
                  <a:gd name="connsiteY0-122" fmla="*/ 0 h 6821071"/>
                  <a:gd name="connsiteX1-123" fmla="*/ 0 w 8628509"/>
                  <a:gd name="connsiteY1-124" fmla="*/ 6821071 h 6821071"/>
                  <a:gd name="connsiteX2-125" fmla="*/ 2817644 w 8628509"/>
                  <a:gd name="connsiteY2-126" fmla="*/ 6819665 h 6821071"/>
                  <a:gd name="connsiteX3-127" fmla="*/ 8628509 w 8628509"/>
                  <a:gd name="connsiteY3-128" fmla="*/ 20893 h 6821071"/>
                  <a:gd name="connsiteX4-129" fmla="*/ 3302292 w 8628509"/>
                  <a:gd name="connsiteY4-130" fmla="*/ 0 h 6821071"/>
                  <a:gd name="connsiteX0-131" fmla="*/ 3314992 w 8628509"/>
                  <a:gd name="connsiteY0-132" fmla="*/ 17207 h 6800178"/>
                  <a:gd name="connsiteX1-133" fmla="*/ 0 w 8628509"/>
                  <a:gd name="connsiteY1-134" fmla="*/ 6800178 h 6800178"/>
                  <a:gd name="connsiteX2-135" fmla="*/ 2817644 w 8628509"/>
                  <a:gd name="connsiteY2-136" fmla="*/ 6798772 h 6800178"/>
                  <a:gd name="connsiteX3-137" fmla="*/ 8628509 w 8628509"/>
                  <a:gd name="connsiteY3-138" fmla="*/ 0 h 6800178"/>
                  <a:gd name="connsiteX4-139" fmla="*/ 3314992 w 8628509"/>
                  <a:gd name="connsiteY4-140" fmla="*/ 17207 h 6800178"/>
                  <a:gd name="connsiteX0-141" fmla="*/ 3327692 w 8628509"/>
                  <a:gd name="connsiteY0-142" fmla="*/ 0 h 6833771"/>
                  <a:gd name="connsiteX1-143" fmla="*/ 0 w 8628509"/>
                  <a:gd name="connsiteY1-144" fmla="*/ 6833771 h 6833771"/>
                  <a:gd name="connsiteX2-145" fmla="*/ 2817644 w 8628509"/>
                  <a:gd name="connsiteY2-146" fmla="*/ 6832365 h 6833771"/>
                  <a:gd name="connsiteX3-147" fmla="*/ 8628509 w 8628509"/>
                  <a:gd name="connsiteY3-148" fmla="*/ 33593 h 6833771"/>
                  <a:gd name="connsiteX4-149" fmla="*/ 3327692 w 8628509"/>
                  <a:gd name="connsiteY4-150" fmla="*/ 0 h 6833771"/>
                  <a:gd name="connsiteX0-151" fmla="*/ 3327692 w 8628509"/>
                  <a:gd name="connsiteY0-152" fmla="*/ 0 h 6821071"/>
                  <a:gd name="connsiteX1-153" fmla="*/ 0 w 8628509"/>
                  <a:gd name="connsiteY1-154" fmla="*/ 6821071 h 6821071"/>
                  <a:gd name="connsiteX2-155" fmla="*/ 2817644 w 8628509"/>
                  <a:gd name="connsiteY2-156" fmla="*/ 6819665 h 6821071"/>
                  <a:gd name="connsiteX3-157" fmla="*/ 8628509 w 8628509"/>
                  <a:gd name="connsiteY3-158" fmla="*/ 20893 h 6821071"/>
                  <a:gd name="connsiteX4-159" fmla="*/ 3327692 w 8628509"/>
                  <a:gd name="connsiteY4-160" fmla="*/ 0 h 6821071"/>
                  <a:gd name="connsiteX0-161" fmla="*/ 3327692 w 8628509"/>
                  <a:gd name="connsiteY0-162" fmla="*/ 0 h 6808371"/>
                  <a:gd name="connsiteX1-163" fmla="*/ 0 w 8628509"/>
                  <a:gd name="connsiteY1-164" fmla="*/ 6808371 h 6808371"/>
                  <a:gd name="connsiteX2-165" fmla="*/ 2817644 w 8628509"/>
                  <a:gd name="connsiteY2-166" fmla="*/ 6806965 h 6808371"/>
                  <a:gd name="connsiteX3-167" fmla="*/ 8628509 w 8628509"/>
                  <a:gd name="connsiteY3-168" fmla="*/ 8193 h 6808371"/>
                  <a:gd name="connsiteX4-169" fmla="*/ 3327692 w 8628509"/>
                  <a:gd name="connsiteY4-170" fmla="*/ 0 h 6808371"/>
                  <a:gd name="connsiteX0-171" fmla="*/ 3327692 w 8628509"/>
                  <a:gd name="connsiteY0-172" fmla="*/ 0 h 6808371"/>
                  <a:gd name="connsiteX1-173" fmla="*/ 0 w 8628509"/>
                  <a:gd name="connsiteY1-174" fmla="*/ 6808371 h 6808371"/>
                  <a:gd name="connsiteX2-175" fmla="*/ 2817644 w 8628509"/>
                  <a:gd name="connsiteY2-176" fmla="*/ 6806965 h 6808371"/>
                  <a:gd name="connsiteX3-177" fmla="*/ 8628509 w 8628509"/>
                  <a:gd name="connsiteY3-178" fmla="*/ 8193 h 6808371"/>
                  <a:gd name="connsiteX4-179" fmla="*/ 3327692 w 8628509"/>
                  <a:gd name="connsiteY4-180" fmla="*/ 0 h 6808371"/>
                  <a:gd name="connsiteX0-181" fmla="*/ 3327692 w 8628509"/>
                  <a:gd name="connsiteY0-182" fmla="*/ 0 h 6808371"/>
                  <a:gd name="connsiteX1-183" fmla="*/ 0 w 8628509"/>
                  <a:gd name="connsiteY1-184" fmla="*/ 6808371 h 6808371"/>
                  <a:gd name="connsiteX2-185" fmla="*/ 2817644 w 8628509"/>
                  <a:gd name="connsiteY2-186" fmla="*/ 6806965 h 6808371"/>
                  <a:gd name="connsiteX3-187" fmla="*/ 8628509 w 8628509"/>
                  <a:gd name="connsiteY3-188" fmla="*/ 8193 h 6808371"/>
                  <a:gd name="connsiteX4-189" fmla="*/ 3327692 w 8628509"/>
                  <a:gd name="connsiteY4-190" fmla="*/ 0 h 6808371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8628509" h="6808371">
                    <a:moveTo>
                      <a:pt x="3327692" y="0"/>
                    </a:moveTo>
                    <a:cubicBezTo>
                      <a:pt x="1858325" y="2153040"/>
                      <a:pt x="646588" y="4304266"/>
                      <a:pt x="0" y="6808371"/>
                    </a:cubicBezTo>
                    <a:lnTo>
                      <a:pt x="2817644" y="6806965"/>
                    </a:lnTo>
                    <a:cubicBezTo>
                      <a:pt x="3402049" y="4521658"/>
                      <a:pt x="5929554" y="1702950"/>
                      <a:pt x="8628509" y="8193"/>
                    </a:cubicBezTo>
                    <a:lnTo>
                      <a:pt x="3327692" y="0"/>
                    </a:lnTo>
                    <a:close/>
                  </a:path>
                </a:pathLst>
              </a:custGeom>
              <a:solidFill>
                <a:srgbClr val="002775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3" name="组 12"/>
              <p:cNvGrpSpPr/>
              <p:nvPr/>
            </p:nvGrpSpPr>
            <p:grpSpPr>
              <a:xfrm rot="10800000">
                <a:off x="10365253" y="4715725"/>
                <a:ext cx="1826747" cy="2142275"/>
                <a:chOff x="-1" y="0"/>
                <a:chExt cx="2035277" cy="2386824"/>
              </a:xfrm>
            </p:grpSpPr>
            <p:sp>
              <p:nvSpPr>
                <p:cNvPr id="14" name="任意多边形: 形状 4"/>
                <p:cNvSpPr/>
                <p:nvPr/>
              </p:nvSpPr>
              <p:spPr>
                <a:xfrm>
                  <a:off x="-1" y="0"/>
                  <a:ext cx="1750338" cy="2052669"/>
                </a:xfrm>
                <a:custGeom>
                  <a:avLst/>
                  <a:gdLst>
                    <a:gd name="connsiteX0" fmla="*/ 781050 w 2095500"/>
                    <a:gd name="connsiteY0" fmla="*/ 0 h 2457450"/>
                    <a:gd name="connsiteX1" fmla="*/ 0 w 2095500"/>
                    <a:gd name="connsiteY1" fmla="*/ 1771650 h 2457450"/>
                    <a:gd name="connsiteX2" fmla="*/ 0 w 2095500"/>
                    <a:gd name="connsiteY2" fmla="*/ 2457450 h 2457450"/>
                    <a:gd name="connsiteX3" fmla="*/ 2095500 w 2095500"/>
                    <a:gd name="connsiteY3" fmla="*/ 0 h 2457450"/>
                    <a:gd name="connsiteX4" fmla="*/ 781050 w 2095500"/>
                    <a:gd name="connsiteY4" fmla="*/ 0 h 2457450"/>
                    <a:gd name="connsiteX0-1" fmla="*/ 781050 w 2095500"/>
                    <a:gd name="connsiteY0-2" fmla="*/ 0 h 2457450"/>
                    <a:gd name="connsiteX1-3" fmla="*/ 0 w 2095500"/>
                    <a:gd name="connsiteY1-4" fmla="*/ 1771650 h 2457450"/>
                    <a:gd name="connsiteX2-5" fmla="*/ 0 w 2095500"/>
                    <a:gd name="connsiteY2-6" fmla="*/ 2457450 h 2457450"/>
                    <a:gd name="connsiteX3-7" fmla="*/ 2095500 w 2095500"/>
                    <a:gd name="connsiteY3-8" fmla="*/ 0 h 2457450"/>
                    <a:gd name="connsiteX4-9" fmla="*/ 781050 w 2095500"/>
                    <a:gd name="connsiteY4-10" fmla="*/ 0 h 2457450"/>
                    <a:gd name="connsiteX0-11" fmla="*/ 781050 w 2095500"/>
                    <a:gd name="connsiteY0-12" fmla="*/ 0 h 2457450"/>
                    <a:gd name="connsiteX1-13" fmla="*/ 0 w 2095500"/>
                    <a:gd name="connsiteY1-14" fmla="*/ 1771650 h 2457450"/>
                    <a:gd name="connsiteX2-15" fmla="*/ 0 w 2095500"/>
                    <a:gd name="connsiteY2-16" fmla="*/ 2457450 h 2457450"/>
                    <a:gd name="connsiteX3-17" fmla="*/ 2095500 w 2095500"/>
                    <a:gd name="connsiteY3-18" fmla="*/ 0 h 2457450"/>
                    <a:gd name="connsiteX4-19" fmla="*/ 781050 w 2095500"/>
                    <a:gd name="connsiteY4-20" fmla="*/ 0 h 2457450"/>
                    <a:gd name="connsiteX0-21" fmla="*/ 781050 w 2095500"/>
                    <a:gd name="connsiteY0-22" fmla="*/ 0 h 2457450"/>
                    <a:gd name="connsiteX1-23" fmla="*/ 0 w 2095500"/>
                    <a:gd name="connsiteY1-24" fmla="*/ 1771650 h 2457450"/>
                    <a:gd name="connsiteX2-25" fmla="*/ 0 w 2095500"/>
                    <a:gd name="connsiteY2-26" fmla="*/ 2457450 h 2457450"/>
                    <a:gd name="connsiteX3-27" fmla="*/ 2095500 w 2095500"/>
                    <a:gd name="connsiteY3-28" fmla="*/ 0 h 2457450"/>
                    <a:gd name="connsiteX4-29" fmla="*/ 781050 w 2095500"/>
                    <a:gd name="connsiteY4-30" fmla="*/ 0 h 2457450"/>
                    <a:gd name="connsiteX0-31" fmla="*/ 781050 w 2095500"/>
                    <a:gd name="connsiteY0-32" fmla="*/ 0 h 2457450"/>
                    <a:gd name="connsiteX1-33" fmla="*/ 0 w 2095500"/>
                    <a:gd name="connsiteY1-34" fmla="*/ 1771650 h 2457450"/>
                    <a:gd name="connsiteX2-35" fmla="*/ 0 w 2095500"/>
                    <a:gd name="connsiteY2-36" fmla="*/ 2457450 h 2457450"/>
                    <a:gd name="connsiteX3-37" fmla="*/ 2095500 w 2095500"/>
                    <a:gd name="connsiteY3-38" fmla="*/ 0 h 2457450"/>
                    <a:gd name="connsiteX4-39" fmla="*/ 781050 w 2095500"/>
                    <a:gd name="connsiteY4-40" fmla="*/ 0 h 2457450"/>
                    <a:gd name="connsiteX0-41" fmla="*/ 781050 w 2095500"/>
                    <a:gd name="connsiteY0-42" fmla="*/ 0 h 2457450"/>
                    <a:gd name="connsiteX1-43" fmla="*/ 0 w 2095500"/>
                    <a:gd name="connsiteY1-44" fmla="*/ 1771650 h 2457450"/>
                    <a:gd name="connsiteX2-45" fmla="*/ 0 w 2095500"/>
                    <a:gd name="connsiteY2-46" fmla="*/ 2457450 h 2457450"/>
                    <a:gd name="connsiteX3-47" fmla="*/ 2095500 w 2095500"/>
                    <a:gd name="connsiteY3-48" fmla="*/ 0 h 2457450"/>
                    <a:gd name="connsiteX4-49" fmla="*/ 781050 w 2095500"/>
                    <a:gd name="connsiteY4-50" fmla="*/ 0 h 2457450"/>
                    <a:gd name="connsiteX0-51" fmla="*/ 781050 w 2095500"/>
                    <a:gd name="connsiteY0-52" fmla="*/ 0 h 2457450"/>
                    <a:gd name="connsiteX1-53" fmla="*/ 0 w 2095500"/>
                    <a:gd name="connsiteY1-54" fmla="*/ 1771650 h 2457450"/>
                    <a:gd name="connsiteX2-55" fmla="*/ 0 w 2095500"/>
                    <a:gd name="connsiteY2-56" fmla="*/ 2457450 h 2457450"/>
                    <a:gd name="connsiteX3-57" fmla="*/ 2095500 w 2095500"/>
                    <a:gd name="connsiteY3-58" fmla="*/ 0 h 2457450"/>
                    <a:gd name="connsiteX4-59" fmla="*/ 781050 w 2095500"/>
                    <a:gd name="connsiteY4-60" fmla="*/ 0 h 2457450"/>
                    <a:gd name="connsiteX0-61" fmla="*/ 781050 w 2095500"/>
                    <a:gd name="connsiteY0-62" fmla="*/ 0 h 2457450"/>
                    <a:gd name="connsiteX1-63" fmla="*/ 0 w 2095500"/>
                    <a:gd name="connsiteY1-64" fmla="*/ 1771650 h 2457450"/>
                    <a:gd name="connsiteX2-65" fmla="*/ 0 w 2095500"/>
                    <a:gd name="connsiteY2-66" fmla="*/ 2457450 h 2457450"/>
                    <a:gd name="connsiteX3-67" fmla="*/ 2095500 w 2095500"/>
                    <a:gd name="connsiteY3-68" fmla="*/ 0 h 2457450"/>
                    <a:gd name="connsiteX4-69" fmla="*/ 781050 w 2095500"/>
                    <a:gd name="connsiteY4-70" fmla="*/ 0 h 2457450"/>
                    <a:gd name="connsiteX0-71" fmla="*/ 781050 w 2095500"/>
                    <a:gd name="connsiteY0-72" fmla="*/ 0 h 2457450"/>
                    <a:gd name="connsiteX1-73" fmla="*/ 0 w 2095500"/>
                    <a:gd name="connsiteY1-74" fmla="*/ 1771650 h 2457450"/>
                    <a:gd name="connsiteX2-75" fmla="*/ 0 w 2095500"/>
                    <a:gd name="connsiteY2-76" fmla="*/ 2457450 h 2457450"/>
                    <a:gd name="connsiteX3-77" fmla="*/ 2095500 w 2095500"/>
                    <a:gd name="connsiteY3-78" fmla="*/ 0 h 2457450"/>
                    <a:gd name="connsiteX4-79" fmla="*/ 781050 w 2095500"/>
                    <a:gd name="connsiteY4-80" fmla="*/ 0 h 2457450"/>
                    <a:gd name="connsiteX0-81" fmla="*/ 781050 w 2095500"/>
                    <a:gd name="connsiteY0-82" fmla="*/ 0 h 2457450"/>
                    <a:gd name="connsiteX1-83" fmla="*/ 0 w 2095500"/>
                    <a:gd name="connsiteY1-84" fmla="*/ 1771650 h 2457450"/>
                    <a:gd name="connsiteX2-85" fmla="*/ 0 w 2095500"/>
                    <a:gd name="connsiteY2-86" fmla="*/ 2457450 h 2457450"/>
                    <a:gd name="connsiteX3-87" fmla="*/ 2095500 w 2095500"/>
                    <a:gd name="connsiteY3-88" fmla="*/ 0 h 2457450"/>
                    <a:gd name="connsiteX4-89" fmla="*/ 781050 w 2095500"/>
                    <a:gd name="connsiteY4-90" fmla="*/ 0 h 245745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95500" h="2457450">
                      <a:moveTo>
                        <a:pt x="781050" y="0"/>
                      </a:moveTo>
                      <a:cubicBezTo>
                        <a:pt x="590550" y="1035050"/>
                        <a:pt x="412750" y="1168400"/>
                        <a:pt x="0" y="1771650"/>
                      </a:cubicBezTo>
                      <a:lnTo>
                        <a:pt x="0" y="2457450"/>
                      </a:lnTo>
                      <a:cubicBezTo>
                        <a:pt x="1422400" y="1536700"/>
                        <a:pt x="1841500" y="577850"/>
                        <a:pt x="2095500" y="0"/>
                      </a:cubicBezTo>
                      <a:lnTo>
                        <a:pt x="781050" y="0"/>
                      </a:lnTo>
                      <a:close/>
                    </a:path>
                  </a:pathLst>
                </a:custGeom>
                <a:solidFill>
                  <a:srgbClr val="3C8C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5" name="任意多边形: 形状 12"/>
                <p:cNvSpPr/>
                <p:nvPr/>
              </p:nvSpPr>
              <p:spPr>
                <a:xfrm>
                  <a:off x="-1" y="0"/>
                  <a:ext cx="2035277" cy="2386824"/>
                </a:xfrm>
                <a:custGeom>
                  <a:avLst/>
                  <a:gdLst>
                    <a:gd name="connsiteX0" fmla="*/ 781050 w 2095500"/>
                    <a:gd name="connsiteY0" fmla="*/ 0 h 2457450"/>
                    <a:gd name="connsiteX1" fmla="*/ 0 w 2095500"/>
                    <a:gd name="connsiteY1" fmla="*/ 1771650 h 2457450"/>
                    <a:gd name="connsiteX2" fmla="*/ 0 w 2095500"/>
                    <a:gd name="connsiteY2" fmla="*/ 2457450 h 2457450"/>
                    <a:gd name="connsiteX3" fmla="*/ 2095500 w 2095500"/>
                    <a:gd name="connsiteY3" fmla="*/ 0 h 2457450"/>
                    <a:gd name="connsiteX4" fmla="*/ 781050 w 2095500"/>
                    <a:gd name="connsiteY4" fmla="*/ 0 h 2457450"/>
                    <a:gd name="connsiteX0-1" fmla="*/ 781050 w 2095500"/>
                    <a:gd name="connsiteY0-2" fmla="*/ 0 h 2457450"/>
                    <a:gd name="connsiteX1-3" fmla="*/ 0 w 2095500"/>
                    <a:gd name="connsiteY1-4" fmla="*/ 1771650 h 2457450"/>
                    <a:gd name="connsiteX2-5" fmla="*/ 0 w 2095500"/>
                    <a:gd name="connsiteY2-6" fmla="*/ 2457450 h 2457450"/>
                    <a:gd name="connsiteX3-7" fmla="*/ 2095500 w 2095500"/>
                    <a:gd name="connsiteY3-8" fmla="*/ 0 h 2457450"/>
                    <a:gd name="connsiteX4-9" fmla="*/ 781050 w 2095500"/>
                    <a:gd name="connsiteY4-10" fmla="*/ 0 h 2457450"/>
                    <a:gd name="connsiteX0-11" fmla="*/ 781050 w 2095500"/>
                    <a:gd name="connsiteY0-12" fmla="*/ 0 h 2457450"/>
                    <a:gd name="connsiteX1-13" fmla="*/ 0 w 2095500"/>
                    <a:gd name="connsiteY1-14" fmla="*/ 1771650 h 2457450"/>
                    <a:gd name="connsiteX2-15" fmla="*/ 0 w 2095500"/>
                    <a:gd name="connsiteY2-16" fmla="*/ 2457450 h 2457450"/>
                    <a:gd name="connsiteX3-17" fmla="*/ 2095500 w 2095500"/>
                    <a:gd name="connsiteY3-18" fmla="*/ 0 h 2457450"/>
                    <a:gd name="connsiteX4-19" fmla="*/ 781050 w 2095500"/>
                    <a:gd name="connsiteY4-20" fmla="*/ 0 h 2457450"/>
                    <a:gd name="connsiteX0-21" fmla="*/ 781050 w 2095500"/>
                    <a:gd name="connsiteY0-22" fmla="*/ 0 h 2457450"/>
                    <a:gd name="connsiteX1-23" fmla="*/ 0 w 2095500"/>
                    <a:gd name="connsiteY1-24" fmla="*/ 1771650 h 2457450"/>
                    <a:gd name="connsiteX2-25" fmla="*/ 0 w 2095500"/>
                    <a:gd name="connsiteY2-26" fmla="*/ 2457450 h 2457450"/>
                    <a:gd name="connsiteX3-27" fmla="*/ 2095500 w 2095500"/>
                    <a:gd name="connsiteY3-28" fmla="*/ 0 h 2457450"/>
                    <a:gd name="connsiteX4-29" fmla="*/ 781050 w 2095500"/>
                    <a:gd name="connsiteY4-30" fmla="*/ 0 h 2457450"/>
                    <a:gd name="connsiteX0-31" fmla="*/ 781050 w 2095500"/>
                    <a:gd name="connsiteY0-32" fmla="*/ 0 h 2457450"/>
                    <a:gd name="connsiteX1-33" fmla="*/ 0 w 2095500"/>
                    <a:gd name="connsiteY1-34" fmla="*/ 1771650 h 2457450"/>
                    <a:gd name="connsiteX2-35" fmla="*/ 0 w 2095500"/>
                    <a:gd name="connsiteY2-36" fmla="*/ 2457450 h 2457450"/>
                    <a:gd name="connsiteX3-37" fmla="*/ 2095500 w 2095500"/>
                    <a:gd name="connsiteY3-38" fmla="*/ 0 h 2457450"/>
                    <a:gd name="connsiteX4-39" fmla="*/ 781050 w 2095500"/>
                    <a:gd name="connsiteY4-40" fmla="*/ 0 h 2457450"/>
                    <a:gd name="connsiteX0-41" fmla="*/ 781050 w 2095500"/>
                    <a:gd name="connsiteY0-42" fmla="*/ 0 h 2457450"/>
                    <a:gd name="connsiteX1-43" fmla="*/ 0 w 2095500"/>
                    <a:gd name="connsiteY1-44" fmla="*/ 1771650 h 2457450"/>
                    <a:gd name="connsiteX2-45" fmla="*/ 0 w 2095500"/>
                    <a:gd name="connsiteY2-46" fmla="*/ 2457450 h 2457450"/>
                    <a:gd name="connsiteX3-47" fmla="*/ 2095500 w 2095500"/>
                    <a:gd name="connsiteY3-48" fmla="*/ 0 h 2457450"/>
                    <a:gd name="connsiteX4-49" fmla="*/ 781050 w 2095500"/>
                    <a:gd name="connsiteY4-50" fmla="*/ 0 h 2457450"/>
                    <a:gd name="connsiteX0-51" fmla="*/ 781050 w 2095500"/>
                    <a:gd name="connsiteY0-52" fmla="*/ 0 h 2457450"/>
                    <a:gd name="connsiteX1-53" fmla="*/ 0 w 2095500"/>
                    <a:gd name="connsiteY1-54" fmla="*/ 1771650 h 2457450"/>
                    <a:gd name="connsiteX2-55" fmla="*/ 0 w 2095500"/>
                    <a:gd name="connsiteY2-56" fmla="*/ 2457450 h 2457450"/>
                    <a:gd name="connsiteX3-57" fmla="*/ 2095500 w 2095500"/>
                    <a:gd name="connsiteY3-58" fmla="*/ 0 h 2457450"/>
                    <a:gd name="connsiteX4-59" fmla="*/ 781050 w 2095500"/>
                    <a:gd name="connsiteY4-60" fmla="*/ 0 h 2457450"/>
                    <a:gd name="connsiteX0-61" fmla="*/ 781050 w 2095500"/>
                    <a:gd name="connsiteY0-62" fmla="*/ 0 h 2457450"/>
                    <a:gd name="connsiteX1-63" fmla="*/ 0 w 2095500"/>
                    <a:gd name="connsiteY1-64" fmla="*/ 1771650 h 2457450"/>
                    <a:gd name="connsiteX2-65" fmla="*/ 0 w 2095500"/>
                    <a:gd name="connsiteY2-66" fmla="*/ 2457450 h 2457450"/>
                    <a:gd name="connsiteX3-67" fmla="*/ 2095500 w 2095500"/>
                    <a:gd name="connsiteY3-68" fmla="*/ 0 h 2457450"/>
                    <a:gd name="connsiteX4-69" fmla="*/ 781050 w 2095500"/>
                    <a:gd name="connsiteY4-70" fmla="*/ 0 h 2457450"/>
                    <a:gd name="connsiteX0-71" fmla="*/ 781050 w 2095500"/>
                    <a:gd name="connsiteY0-72" fmla="*/ 0 h 2457450"/>
                    <a:gd name="connsiteX1-73" fmla="*/ 0 w 2095500"/>
                    <a:gd name="connsiteY1-74" fmla="*/ 1771650 h 2457450"/>
                    <a:gd name="connsiteX2-75" fmla="*/ 0 w 2095500"/>
                    <a:gd name="connsiteY2-76" fmla="*/ 2457450 h 2457450"/>
                    <a:gd name="connsiteX3-77" fmla="*/ 2095500 w 2095500"/>
                    <a:gd name="connsiteY3-78" fmla="*/ 0 h 2457450"/>
                    <a:gd name="connsiteX4-79" fmla="*/ 781050 w 2095500"/>
                    <a:gd name="connsiteY4-80" fmla="*/ 0 h 2457450"/>
                    <a:gd name="connsiteX0-81" fmla="*/ 781050 w 2095500"/>
                    <a:gd name="connsiteY0-82" fmla="*/ 0 h 2457450"/>
                    <a:gd name="connsiteX1-83" fmla="*/ 0 w 2095500"/>
                    <a:gd name="connsiteY1-84" fmla="*/ 1771650 h 2457450"/>
                    <a:gd name="connsiteX2-85" fmla="*/ 0 w 2095500"/>
                    <a:gd name="connsiteY2-86" fmla="*/ 2457450 h 2457450"/>
                    <a:gd name="connsiteX3-87" fmla="*/ 2095500 w 2095500"/>
                    <a:gd name="connsiteY3-88" fmla="*/ 0 h 2457450"/>
                    <a:gd name="connsiteX4-89" fmla="*/ 781050 w 2095500"/>
                    <a:gd name="connsiteY4-90" fmla="*/ 0 h 245745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95500" h="2457450">
                      <a:moveTo>
                        <a:pt x="781050" y="0"/>
                      </a:moveTo>
                      <a:cubicBezTo>
                        <a:pt x="590550" y="1035050"/>
                        <a:pt x="412750" y="1168400"/>
                        <a:pt x="0" y="1771650"/>
                      </a:cubicBezTo>
                      <a:lnTo>
                        <a:pt x="0" y="2457450"/>
                      </a:lnTo>
                      <a:cubicBezTo>
                        <a:pt x="1422400" y="1536700"/>
                        <a:pt x="1841500" y="577850"/>
                        <a:pt x="2095500" y="0"/>
                      </a:cubicBezTo>
                      <a:lnTo>
                        <a:pt x="78105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53FCBF"/>
                    </a:gs>
                    <a:gs pos="100000">
                      <a:srgbClr val="00D3FF"/>
                    </a:gs>
                  </a:gsLst>
                  <a:lin ang="81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8197" y="318612"/>
              <a:ext cx="2048716" cy="615925"/>
            </a:xfrm>
            <a:prstGeom prst="rect">
              <a:avLst/>
            </a:prstGeom>
            <a:effectLst>
              <a:outerShdw blurRad="38100" dist="12700" dir="2700000" algn="tl" rotWithShape="0">
                <a:prstClr val="black">
                  <a:alpha val="20000"/>
                </a:prstClr>
              </a:outerShdw>
            </a:effectLst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bul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524935" y="4376545"/>
            <a:ext cx="10525275" cy="13633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zh-CN" altLang="en-US" sz="1400" dirty="0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本文件中（包括任何附件）含有专供明确的个人和目的使用的机密信息，并受法律保护。如果您并非授权阅读者，您应该删除此文件。严禁披露、复制或者分发此文件或者据此采取任何行动。</a:t>
            </a:r>
            <a:endParaRPr lang="en-US" altLang="zh-CN" sz="1400" dirty="0">
              <a:solidFill>
                <a:schemeClr val="tx2"/>
              </a:solidFill>
            </a:endParaRPr>
          </a:p>
          <a:p>
            <a:endParaRPr lang="en-US" sz="1400" dirty="0">
              <a:solidFill>
                <a:schemeClr val="tx2"/>
              </a:solidFill>
            </a:endParaRPr>
          </a:p>
          <a:p>
            <a:endParaRPr lang="en-US" sz="1400" dirty="0">
              <a:solidFill>
                <a:schemeClr val="tx2"/>
              </a:solidFill>
            </a:endParaRPr>
          </a:p>
          <a:p>
            <a:endParaRPr lang="en-US" sz="1400" dirty="0">
              <a:solidFill>
                <a:schemeClr val="tx2"/>
              </a:solidFill>
            </a:endParaRPr>
          </a:p>
          <a:p>
            <a:endParaRPr lang="en-US" altLang="zh-CN" sz="1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573C6-4D12-8643-B708-D7B5AD3D4C16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F6BDA701-D337-014A-919B-3712C29092E9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E487AB6F-F45B-1E47-9ABE-7BB65FF72213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3BB603D5-F927-994E-B3DB-E8F7BBC69342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10FCD0E6-EFB2-8343-8392-FB5E516256C8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DE94795B-BC6D-414A-9BCC-1EEB74C46D5E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247B96FB-2AFC-7049-8529-F7162372D6E4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893A83BE-0D1C-1C49-822B-49A18AB87F42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914400" y="339638"/>
            <a:ext cx="10515600" cy="4813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341783"/>
            <a:ext cx="10515600" cy="48351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2EA8C8C3-3A27-DE44-A11C-C1F0DB12EC15}" type="datetime1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264826" y="6356349"/>
            <a:ext cx="4359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fld id="{A292445D-0C4E-8345-85B5-08D04BC9CFB6}" type="slidenum">
              <a:rPr kumimoji="1" lang="zh-CN" altLang="en-US" smtClean="0"/>
            </a:fld>
            <a:endParaRPr kumimoji="1" lang="zh-CN" altLang="en-US" dirty="0"/>
          </a:p>
        </p:txBody>
      </p:sp>
      <p:grpSp>
        <p:nvGrpSpPr>
          <p:cNvPr id="7" name="组 6"/>
          <p:cNvGrpSpPr/>
          <p:nvPr userDrawn="1"/>
        </p:nvGrpSpPr>
        <p:grpSpPr>
          <a:xfrm>
            <a:off x="1" y="342260"/>
            <a:ext cx="971549" cy="481372"/>
            <a:chOff x="1" y="342260"/>
            <a:chExt cx="971549" cy="481372"/>
          </a:xfrm>
        </p:grpSpPr>
        <p:sp>
          <p:nvSpPr>
            <p:cNvPr id="8" name="矩形 7"/>
            <p:cNvSpPr/>
            <p:nvPr/>
          </p:nvSpPr>
          <p:spPr>
            <a:xfrm>
              <a:off x="1" y="342260"/>
              <a:ext cx="806824" cy="481371"/>
            </a:xfrm>
            <a:prstGeom prst="rect">
              <a:avLst/>
            </a:prstGeom>
            <a:solidFill>
              <a:srgbClr val="1D4DA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kumimoji="1" lang="zh-CN" altLang="en-US" sz="1400" dirty="0" err="1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762000" y="342260"/>
              <a:ext cx="209550" cy="481372"/>
            </a:xfrm>
            <a:prstGeom prst="rect">
              <a:avLst/>
            </a:prstGeom>
            <a:solidFill>
              <a:srgbClr val="42F8D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kumimoji="1" lang="zh-CN" altLang="en-US" sz="1400" dirty="0" err="1">
                <a:solidFill>
                  <a:schemeClr val="tx2"/>
                </a:solidFill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836" y="39756"/>
            <a:ext cx="1328529" cy="399408"/>
          </a:xfrm>
          <a:prstGeom prst="rect">
            <a:avLst/>
          </a:prstGeom>
        </p:spPr>
      </p:pic>
      <p:sp>
        <p:nvSpPr>
          <p:cNvPr id="12" name="矩形 11"/>
          <p:cNvSpPr/>
          <p:nvPr userDrawn="1"/>
        </p:nvSpPr>
        <p:spPr>
          <a:xfrm>
            <a:off x="0" y="0"/>
            <a:ext cx="974035" cy="2754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1000" b="1">
                <a:solidFill>
                  <a:schemeClr val="accent5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机密文档</a:t>
            </a:r>
            <a:endParaRPr lang="en-US" altLang="zh-CN" sz="1000" b="1">
              <a:solidFill>
                <a:schemeClr val="accent5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algn="l"/>
            <a:r>
              <a:rPr lang="zh-CN" altLang="en-US" sz="1000" b="1" u="sng">
                <a:solidFill>
                  <a:schemeClr val="accent5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仅内部使用</a:t>
            </a:r>
            <a:endParaRPr lang="zh-CN" altLang="en-US" sz="1000" b="1" u="sng">
              <a:solidFill>
                <a:schemeClr val="accent5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楷体" panose="02010609060101010101" pitchFamily="49" charset="-122"/>
          <a:ea typeface="楷体" panose="02010609060101010101" pitchFamily="49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vmlDrawing" Target="../drawings/vmlDrawing1.v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3.wmf"/><Relationship Id="rId1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10.x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518755" y="2319981"/>
            <a:ext cx="711932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0" b="1" kern="1400" spc="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</a:rPr>
              <a:t>数势科技</a:t>
            </a:r>
            <a:endParaRPr lang="zh-CN" altLang="en-US" sz="10000" b="1" kern="1400" spc="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Kaiti SC" charset="-122"/>
            </a:endParaRPr>
          </a:p>
        </p:txBody>
      </p:sp>
      <p:grpSp>
        <p:nvGrpSpPr>
          <p:cNvPr id="5" name="组 4"/>
          <p:cNvGrpSpPr/>
          <p:nvPr/>
        </p:nvGrpSpPr>
        <p:grpSpPr>
          <a:xfrm>
            <a:off x="3556120" y="1682289"/>
            <a:ext cx="3260479" cy="516436"/>
            <a:chOff x="3556120" y="1682289"/>
            <a:chExt cx="3260479" cy="516436"/>
          </a:xfrm>
        </p:grpSpPr>
        <p:sp>
          <p:nvSpPr>
            <p:cNvPr id="25" name="平行四边形 24"/>
            <p:cNvSpPr/>
            <p:nvPr/>
          </p:nvSpPr>
          <p:spPr>
            <a:xfrm>
              <a:off x="3580181" y="2088028"/>
              <a:ext cx="1944000" cy="110697"/>
            </a:xfrm>
            <a:prstGeom prst="parallelogram">
              <a:avLst/>
            </a:prstGeom>
            <a:gradFill flip="none" rotWithShape="1">
              <a:gsLst>
                <a:gs pos="0">
                  <a:srgbClr val="10CF9B">
                    <a:alpha val="0"/>
                  </a:srgbClr>
                </a:gs>
                <a:gs pos="100000">
                  <a:srgbClr val="10CF9B"/>
                </a:gs>
              </a:gsLst>
              <a:lin ang="10800000" scaled="1"/>
              <a:tileRect/>
            </a:gradFill>
            <a:ln>
              <a:gradFill flip="none" rotWithShape="1">
                <a:gsLst>
                  <a:gs pos="0">
                    <a:schemeClr val="bg1">
                      <a:alpha val="80000"/>
                    </a:schemeClr>
                  </a:gs>
                  <a:gs pos="99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/>
            <p:cNvSpPr/>
            <p:nvPr/>
          </p:nvSpPr>
          <p:spPr>
            <a:xfrm>
              <a:off x="3556120" y="1682289"/>
              <a:ext cx="326047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dist"/>
              <a:r>
                <a:rPr lang="en-US" altLang="zh-CN" sz="2000" i="1" dirty="0">
                  <a:solidFill>
                    <a:schemeClr val="bg1"/>
                  </a:solidFill>
                  <a:latin typeface="Times New Roman" panose="02020603050405020304" charset="0"/>
                  <a:ea typeface="Times New Roman" panose="02020603050405020304" charset="0"/>
                  <a:cs typeface="Times New Roman" panose="02020603050405020304" charset="0"/>
                </a:rPr>
                <a:t>DIGIT</a:t>
              </a:r>
              <a:r>
                <a:rPr lang="zh-CN" altLang="en-US" sz="2000" i="1" dirty="0">
                  <a:solidFill>
                    <a:schemeClr val="bg1"/>
                  </a:solidFill>
                  <a:latin typeface="Times New Roman" panose="02020603050405020304" charset="0"/>
                  <a:ea typeface="Times New Roman" panose="02020603050405020304" charset="0"/>
                  <a:cs typeface="Times New Roman" panose="02020603050405020304" charset="0"/>
                </a:rPr>
                <a:t> </a:t>
              </a:r>
              <a:r>
                <a:rPr lang="en-US" altLang="zh-CN" sz="2000" i="1" dirty="0">
                  <a:solidFill>
                    <a:schemeClr val="bg1"/>
                  </a:solidFill>
                  <a:latin typeface="Times New Roman" panose="02020603050405020304" charset="0"/>
                  <a:ea typeface="Times New Roman" panose="02020603050405020304" charset="0"/>
                  <a:cs typeface="Times New Roman" panose="02020603050405020304" charset="0"/>
                </a:rPr>
                <a:t>FORCE</a:t>
              </a:r>
              <a:endParaRPr lang="zh-CN" altLang="en-US" sz="2000" i="1" dirty="0">
                <a:solidFill>
                  <a:schemeClr val="bg1"/>
                </a:solidFill>
                <a:latin typeface="Times New Roman" panose="02020603050405020304" charset="0"/>
                <a:ea typeface="Times New Roman" panose="02020603050405020304" charset="0"/>
                <a:cs typeface="Times New Roman" panose="02020603050405020304" charset="0"/>
              </a:endParaRPr>
            </a:p>
          </p:txBody>
        </p:sp>
      </p:grpSp>
      <p:sp>
        <p:nvSpPr>
          <p:cNvPr id="24" name="副标题 3"/>
          <p:cNvSpPr>
            <a:spLocks noGrp="1"/>
          </p:cNvSpPr>
          <p:nvPr>
            <p:ph type="subTitle" idx="1"/>
          </p:nvPr>
        </p:nvSpPr>
        <p:spPr>
          <a:xfrm>
            <a:off x="2272442" y="4219082"/>
            <a:ext cx="7741812" cy="634420"/>
          </a:xfrm>
        </p:spPr>
        <p:txBody>
          <a:bodyPr>
            <a:noAutofit/>
          </a:bodyPr>
          <a:lstStyle/>
          <a:p>
            <a:r>
              <a:rPr lang="zh-CN" altLang="en-US" sz="2600" dirty="0">
                <a:solidFill>
                  <a:schemeClr val="bg1"/>
                </a:solidFill>
                <a:cs typeface="Kaiti SC" charset="-122"/>
              </a:rPr>
              <a:t>企 业 数 字 化 升 级 最 </a:t>
            </a:r>
            <a:r>
              <a:rPr lang="zh-CN" altLang="en-US" sz="2600">
                <a:solidFill>
                  <a:schemeClr val="bg1"/>
                </a:solidFill>
                <a:cs typeface="Kaiti SC" charset="-122"/>
              </a:rPr>
              <a:t>佳 长 期 技 术 伙 </a:t>
            </a:r>
            <a:r>
              <a:rPr lang="zh-CN" altLang="en-US" sz="2600" dirty="0">
                <a:solidFill>
                  <a:schemeClr val="bg1"/>
                </a:solidFill>
                <a:cs typeface="Kaiti SC" charset="-122"/>
              </a:rPr>
              <a:t>伴 ！</a:t>
            </a:r>
            <a:endParaRPr lang="zh-CN" altLang="en-US" sz="2600" dirty="0">
              <a:solidFill>
                <a:schemeClr val="bg1"/>
              </a:solidFill>
              <a:cs typeface="Kaiti SC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 advTm="5000"/>
    </mc:Choice>
    <mc:Fallback>
      <p:transition advClick="0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504453"/>
          </a:xfrm>
        </p:spPr>
        <p:txBody>
          <a:bodyPr/>
          <a:lstStyle/>
          <a:p>
            <a:r>
              <a:rPr lang="en-US" altLang="zh-CN" sz="4800">
                <a:latin typeface="+mj-lt"/>
                <a:ea typeface="楷体" panose="02010609060101010101" pitchFamily="49" charset="-122"/>
              </a:rPr>
              <a:t>Digitforce Talent Pool</a:t>
            </a:r>
            <a:br>
              <a:rPr lang="en-US" altLang="zh-CN" sz="4800">
                <a:latin typeface="楷体" panose="02010609060101010101" pitchFamily="49" charset="-122"/>
                <a:ea typeface="楷体" panose="02010609060101010101" pitchFamily="49" charset="-122"/>
              </a:rPr>
            </a:br>
            <a:r>
              <a:rPr lang="zh-CN" altLang="en-US" sz="4800" u="sng">
                <a:latin typeface="楷体" panose="02010609060101010101" pitchFamily="49" charset="-122"/>
                <a:ea typeface="楷体" panose="02010609060101010101" pitchFamily="49" charset="-122"/>
              </a:rPr>
              <a:t>数势科技专业人才图谱</a:t>
            </a:r>
            <a:endParaRPr lang="zh-CN" altLang="en-US" sz="4800" u="sng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831850" y="4606926"/>
            <a:ext cx="10515600" cy="1500187"/>
          </a:xfrm>
        </p:spPr>
        <p:txBody>
          <a:bodyPr/>
          <a:lstStyle/>
          <a:p>
            <a:r>
              <a:rPr lang="en-US" altLang="zh-CN">
                <a:latin typeface="+mj-lt"/>
              </a:rPr>
              <a:t>Template </a:t>
            </a:r>
            <a:r>
              <a:rPr lang="zh-CN" altLang="en-US">
                <a:latin typeface="+mj-lt"/>
              </a:rPr>
              <a:t>模板 </a:t>
            </a:r>
            <a:r>
              <a:rPr lang="en-US" altLang="zh-CN">
                <a:latin typeface="+mj-lt"/>
              </a:rPr>
              <a:t>v 0.1</a:t>
            </a:r>
            <a:endParaRPr lang="zh-CN" altLang="en-US">
              <a:latin typeface="+mj-lt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897622" y="1879134"/>
            <a:ext cx="1702965" cy="41106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algn="l"/>
            <a:r>
              <a:rPr lang="en-US" altLang="zh-CN" sz="20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楷体" panose="02010609060101010101" pitchFamily="49" charset="-122"/>
                <a:cs typeface="Kaiti SC" charset="-122"/>
                <a:sym typeface="+mn-ea"/>
              </a:rPr>
              <a:t>DTP</a:t>
            </a:r>
            <a:endParaRPr lang="zh-CN" altLang="en-US" sz="2000" b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864066" y="1518056"/>
            <a:ext cx="1032684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u="sng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说明：</a:t>
            </a:r>
            <a:endParaRPr lang="en-US" altLang="zh-CN" b="1" u="sng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 sz="1800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r>
              <a:rPr lang="zh-CN" altLang="en-US" sz="1800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本文件为数势科技专业人才机密文档，记录了数势科技核心技术服务团队成员的履历背景，以及行业、客户和专业领域经验。本文档旨在为组建客户所需要的专业服务团队提供指引。</a:t>
            </a:r>
            <a:endParaRPr lang="en-US" altLang="zh-CN" sz="1800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r>
              <a:rPr lang="zh-CN" altLang="en-US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本文件所指专业服务团队角色包括：技术咨询顾问、解决方案专家、产品专家及架构师、技术专家及架构师、行业及领域专家。</a:t>
            </a:r>
            <a:endParaRPr lang="en-US" altLang="zh-CN" sz="1800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r>
              <a:rPr lang="zh-CN" altLang="en-US" sz="1800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本文件为数势科技机密文档，仅供数势科技核心管理团队查阅和使用。</a:t>
            </a:r>
            <a:endParaRPr lang="en-US" altLang="zh-CN" sz="1800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  <a:p>
            <a:endParaRPr lang="en-US" altLang="zh-CN" sz="1800">
              <a:solidFill>
                <a:schemeClr val="tx2"/>
              </a:solidFill>
              <a:latin typeface="楷体-简" panose="02010600040101010101" charset="-122"/>
              <a:ea typeface="楷体-简" panose="02010600040101010101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00790" y="6467558"/>
            <a:ext cx="1149121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50">
                <a:solidFill>
                  <a:schemeClr val="tx2"/>
                </a:solidFill>
                <a:latin typeface="楷体-简" panose="02010600040101010101" charset="-122"/>
                <a:ea typeface="楷体-简" panose="02010600040101010101" charset="-122"/>
              </a:rPr>
              <a:t>本文件中（包括任何附件）含有专供明确的个人和目的使用的机密信息，并受法律保护。如果您并非授权阅读者，您应该删除此文件。严禁披露、复制或者分发此文件或者据此采取任何行动。</a:t>
            </a:r>
            <a:endParaRPr lang="en-US" altLang="zh-CN" sz="1050" dirty="0">
              <a:solidFill>
                <a:schemeClr val="tx2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64066" y="5045585"/>
            <a:ext cx="10326848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algn="l"/>
            <a:r>
              <a:rPr lang="zh-CN" altLang="en-US" sz="1600">
                <a:solidFill>
                  <a:schemeClr val="accent5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注意：此文档不可对外，如果需要将某专家履历输出至</a:t>
            </a:r>
            <a:r>
              <a:rPr lang="en-US" altLang="zh-CN" sz="1600">
                <a:solidFill>
                  <a:schemeClr val="accent5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proposal</a:t>
            </a:r>
            <a:r>
              <a:rPr lang="zh-CN" altLang="en-US" sz="1600">
                <a:solidFill>
                  <a:schemeClr val="accent5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，请务必去除客户敏感信息，并与对应专家确认。</a:t>
            </a:r>
            <a:endParaRPr lang="zh-CN" altLang="en-US" sz="1600">
              <a:solidFill>
                <a:schemeClr val="accent5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架构师</a:t>
            </a:r>
            <a:r>
              <a:rPr lang="zh-CN" altLang="en-US"/>
              <a:t> </a:t>
            </a:r>
            <a:r>
              <a:rPr lang="en-US" altLang="zh-CN"/>
              <a:t>–</a:t>
            </a:r>
            <a:r>
              <a:rPr lang="zh-CN" altLang="en-US"/>
              <a:t>张越</a:t>
            </a:r>
            <a:r>
              <a:rPr lang="zh-CN" altLang="en-US"/>
              <a:t> </a:t>
            </a:r>
            <a:endParaRPr lang="zh-CN" altLang="en-US">
              <a:latin typeface="+mj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2445D-0C4E-8345-85B5-08D04BC9CFB6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5" name="Rectangle 1035"/>
          <p:cNvSpPr>
            <a:spLocks noChangeArrowheads="1"/>
          </p:cNvSpPr>
          <p:nvPr/>
        </p:nvSpPr>
        <p:spPr bwMode="auto">
          <a:xfrm>
            <a:off x="671200" y="2563798"/>
            <a:ext cx="3751262" cy="306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95580" marR="0" lvl="0" indent="-19558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5B300"/>
              </a:buClr>
              <a:buSzTx/>
              <a:buFontTx/>
              <a:buNone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专业背景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Rectangle 1034"/>
          <p:cNvSpPr>
            <a:spLocks noChangeArrowheads="1"/>
          </p:cNvSpPr>
          <p:nvPr/>
        </p:nvSpPr>
        <p:spPr bwMode="auto">
          <a:xfrm>
            <a:off x="671200" y="4407205"/>
            <a:ext cx="3751262" cy="306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95580" marR="0" lvl="0" indent="-19558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5B300"/>
              </a:buClr>
              <a:buSzTx/>
              <a:buFontTx/>
              <a:buNone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领域及行业专长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Rectangle 1033"/>
          <p:cNvSpPr>
            <a:spLocks noChangeArrowheads="1"/>
          </p:cNvSpPr>
          <p:nvPr/>
        </p:nvSpPr>
        <p:spPr bwMode="auto">
          <a:xfrm>
            <a:off x="4704203" y="1026577"/>
            <a:ext cx="6816596" cy="3064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95580" marR="0" lvl="0" indent="-19558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5B300"/>
              </a:buClr>
              <a:buSzTx/>
              <a:buFontTx/>
              <a:buNone/>
              <a:defRPr/>
            </a:pP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项目</a:t>
            </a:r>
            <a:r>
              <a:rPr lang="zh-CN" altLang="en-US" sz="1400" b="1">
                <a:solidFill>
                  <a:srgbClr val="FFFFFF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及专业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经验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71200" y="1026577"/>
            <a:ext cx="3751262" cy="12971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1200" y="1026577"/>
            <a:ext cx="1157600" cy="129717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照片</a:t>
            </a:r>
            <a:endParaRPr lang="zh-CN" altLang="en-US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887523" y="1134765"/>
            <a:ext cx="2534939" cy="10147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algn="l"/>
            <a:r>
              <a:rPr lang="zh-CN" altLang="en-US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张越</a:t>
            </a:r>
            <a:endParaRPr lang="en-US" altLang="zh-CN">
              <a:solidFill>
                <a:schemeClr val="tx1"/>
              </a:solidFill>
              <a:latin typeface="+mj-lt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数势科技技术架构师</a:t>
            </a:r>
            <a:endParaRPr lang="en-US" altLang="zh-CN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zh-CN" altLang="en-US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71200" y="3054302"/>
            <a:ext cx="3751262" cy="11684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河北建筑工程学院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 </a:t>
            </a:r>
            <a:r>
              <a:rPr lang="en-US" altLang="zh-CN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– </a:t>
            </a:r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学士</a:t>
            </a:r>
            <a:endParaRPr lang="zh-CN" altLang="en-US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一九易电子商务 </a:t>
            </a:r>
            <a:r>
              <a:rPr lang="en-US" altLang="zh-CN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–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经理</a:t>
            </a:r>
            <a:r>
              <a:rPr lang="en-US" altLang="zh-CN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架构师</a:t>
            </a:r>
            <a:endParaRPr lang="zh-CN" altLang="en-US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高阳捷讯 </a:t>
            </a:r>
            <a:r>
              <a:rPr lang="en-US" altLang="zh-CN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–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项目经理</a:t>
            </a:r>
            <a:r>
              <a:rPr lang="en-US" altLang="zh-CN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高级工程师</a:t>
            </a:r>
            <a:endParaRPr lang="zh-CN" altLang="en-US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01088" y="4789937"/>
            <a:ext cx="3751262" cy="18148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擅长企业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、业务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中台规划和落地</a:t>
            </a:r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，及企业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数字化转型升级</a:t>
            </a:r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、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企业技术</a:t>
            </a:r>
            <a:r>
              <a:rPr lang="zh-CN" altLang="en-US" sz="140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等领域的技术解决方案</a:t>
            </a:r>
            <a:endParaRPr lang="en-US" altLang="zh-CN" sz="140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丰富的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电子商务、电信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行业</a:t>
            </a:r>
            <a:r>
              <a:rPr lang="en-US" altLang="zh-CN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Know-how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，也有服务于科技金融、快递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等领域客户的专业经验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专长关键词：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规划、技术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中台解决方案、关键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咨询与交付</a:t>
            </a:r>
            <a:endParaRPr lang="en-US" altLang="zh-CN" sz="1400" b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4704203" y="1458960"/>
            <a:ext cx="6816596" cy="526224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项目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关键词：一九易</a:t>
            </a:r>
            <a:r>
              <a:rPr lang="en-US" altLang="zh-CN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快点到家</a:t>
            </a:r>
            <a:r>
              <a:rPr lang="en-US" altLang="zh-CN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京东金融</a:t>
            </a:r>
            <a:r>
              <a:rPr lang="en-US" altLang="zh-CN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 b="1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支付宝快递</a:t>
            </a:r>
            <a:r>
              <a:rPr lang="en-US" altLang="zh-CN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高阳捷讯</a:t>
            </a:r>
            <a:r>
              <a:rPr lang="en-US" altLang="zh-CN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/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钉钉</a:t>
            </a:r>
            <a:endParaRPr lang="en-US" altLang="zh-CN" sz="1400" b="1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电子商务企业技术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中台建设  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架构师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面向中台新架构下的技术能力建设，负责设计技术中台和部分业务中台的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规划，并负责关键项目的落地执行，实现中台组织变革和技术变革</a:t>
            </a:r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4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电商企业</a:t>
            </a: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新零售项目      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研发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负责人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利用公司资源优势，针对客户全渠道经营痛点，设计整体数字化解决方案，建设全渠道用户运营、全场景数字化经营和完备的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物流履约能力</a:t>
            </a:r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电商平台快递业务设计项目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架构师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针对客户新业务需求，结合领域驱动方法论和行业最佳实践，设计技术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整体架构</a:t>
            </a:r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4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金融科技公司合作项目    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研发负责人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设计适合面向某电子商务平台客户的金融业务的技术架构，指导研发发团队落地金融业务需求，并建立完备的监控和运营平台。</a:t>
            </a:r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4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办公软件合作项目        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经理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评估来源于某办公软件的数据完备性，建立自有的数据仓库，并完成对数据库看板的设计</a:t>
            </a:r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marL="176530" indent="-176530" algn="l">
              <a:buFont typeface="Arial" panose="020B0604020202020204" pitchFamily="34" charset="0"/>
              <a:buChar char="•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某电子商务项目</a:t>
            </a:r>
            <a:r>
              <a:rPr lang="zh-CN" altLang="en-US" sz="1200" b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                                                     </a:t>
            </a:r>
            <a:r>
              <a:rPr lang="zh-CN" altLang="en-US" sz="1400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研发经理</a:t>
            </a:r>
            <a:endParaRPr lang="en-US" altLang="zh-CN" sz="1400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分析项目需求，从</a:t>
            </a:r>
            <a:r>
              <a:rPr lang="en-US" altLang="zh-CN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0-1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建设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整体业务的技术架构，持续完善</a:t>
            </a:r>
            <a:r>
              <a:rPr lang="en-US" altLang="zh-CN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1-100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的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技术架构，指导研发发团队持续集成落地</a:t>
            </a:r>
            <a:r>
              <a:rPr lang="zh-CN" altLang="en-US" sz="1200" i="1">
                <a:latin typeface="楷体" panose="02010609060101010101" pitchFamily="49" charset="-122"/>
                <a:ea typeface="楷体" panose="02010609060101010101" pitchFamily="49" charset="-122"/>
                <a:cs typeface="Kaiti SC" charset="-122"/>
                <a:sym typeface="+mn-ea"/>
              </a:rPr>
              <a:t>，并建立完备的监控和运营平台</a:t>
            </a:r>
            <a:endParaRPr lang="zh-CN" altLang="en-US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  <a:p>
            <a:pPr algn="l"/>
            <a:endParaRPr lang="en-US" altLang="zh-CN" sz="1200" i="1">
              <a:latin typeface="楷体" panose="02010609060101010101" pitchFamily="49" charset="-122"/>
              <a:ea typeface="楷体" panose="02010609060101010101" pitchFamily="49" charset="-122"/>
              <a:cs typeface="Kaiti SC" charset="-122"/>
              <a:sym typeface="+mn-ea"/>
            </a:endParaRPr>
          </a:p>
        </p:txBody>
      </p:sp>
      <p:graphicFrame>
        <p:nvGraphicFramePr>
          <p:cNvPr id="4" name="对象 3"/>
          <p:cNvGraphicFramePr/>
          <p:nvPr/>
        </p:nvGraphicFramePr>
        <p:xfrm>
          <a:off x="665480" y="1003935"/>
          <a:ext cx="1205230" cy="13423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" name="" r:id="rId1" imgW="2819400" imgH="2946400" progId="Paint.Picture">
                  <p:embed/>
                </p:oleObj>
              </mc:Choice>
              <mc:Fallback>
                <p:oleObj name="" r:id="rId1" imgW="2819400" imgH="2946400" progId="Paint.Picture">
                  <p:embed/>
                  <p:pic>
                    <p:nvPicPr>
                      <p:cNvPr id="0" name="图片 7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665480" y="1003935"/>
                        <a:ext cx="1205230" cy="13423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组 14"/>
          <p:cNvGrpSpPr/>
          <p:nvPr/>
        </p:nvGrpSpPr>
        <p:grpSpPr>
          <a:xfrm>
            <a:off x="-1" y="-1"/>
            <a:ext cx="12192001" cy="6875847"/>
            <a:chOff x="-1" y="-1"/>
            <a:chExt cx="12192001" cy="6875847"/>
          </a:xfrm>
        </p:grpSpPr>
        <p:sp>
          <p:nvSpPr>
            <p:cNvPr id="16" name="矩形 15"/>
            <p:cNvSpPr/>
            <p:nvPr/>
          </p:nvSpPr>
          <p:spPr>
            <a:xfrm>
              <a:off x="0" y="-1"/>
              <a:ext cx="12192000" cy="6858001"/>
            </a:xfrm>
            <a:prstGeom prst="rect">
              <a:avLst/>
            </a:prstGeom>
            <a:solidFill>
              <a:srgbClr val="1D4DA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kumimoji="1" lang="zh-CN" altLang="en-US" sz="1400" dirty="0" err="1">
                <a:solidFill>
                  <a:schemeClr val="tx2"/>
                </a:solidFill>
              </a:endParaRPr>
            </a:p>
          </p:txBody>
        </p:sp>
        <p:grpSp>
          <p:nvGrpSpPr>
            <p:cNvPr id="18" name="组 17"/>
            <p:cNvGrpSpPr/>
            <p:nvPr/>
          </p:nvGrpSpPr>
          <p:grpSpPr>
            <a:xfrm>
              <a:off x="-1" y="0"/>
              <a:ext cx="1826747" cy="2142275"/>
              <a:chOff x="-1" y="0"/>
              <a:chExt cx="2035277" cy="2386824"/>
            </a:xfrm>
          </p:grpSpPr>
          <p:sp>
            <p:nvSpPr>
              <p:cNvPr id="25" name="任意多边形: 形状 4"/>
              <p:cNvSpPr/>
              <p:nvPr/>
            </p:nvSpPr>
            <p:spPr>
              <a:xfrm>
                <a:off x="-1" y="0"/>
                <a:ext cx="1750338" cy="2052669"/>
              </a:xfrm>
              <a:custGeom>
                <a:avLst/>
                <a:gdLst>
                  <a:gd name="connsiteX0" fmla="*/ 781050 w 2095500"/>
                  <a:gd name="connsiteY0" fmla="*/ 0 h 2457450"/>
                  <a:gd name="connsiteX1" fmla="*/ 0 w 2095500"/>
                  <a:gd name="connsiteY1" fmla="*/ 1771650 h 2457450"/>
                  <a:gd name="connsiteX2" fmla="*/ 0 w 2095500"/>
                  <a:gd name="connsiteY2" fmla="*/ 2457450 h 2457450"/>
                  <a:gd name="connsiteX3" fmla="*/ 2095500 w 2095500"/>
                  <a:gd name="connsiteY3" fmla="*/ 0 h 2457450"/>
                  <a:gd name="connsiteX4" fmla="*/ 781050 w 2095500"/>
                  <a:gd name="connsiteY4" fmla="*/ 0 h 2457450"/>
                  <a:gd name="connsiteX0-1" fmla="*/ 781050 w 2095500"/>
                  <a:gd name="connsiteY0-2" fmla="*/ 0 h 2457450"/>
                  <a:gd name="connsiteX1-3" fmla="*/ 0 w 2095500"/>
                  <a:gd name="connsiteY1-4" fmla="*/ 1771650 h 2457450"/>
                  <a:gd name="connsiteX2-5" fmla="*/ 0 w 2095500"/>
                  <a:gd name="connsiteY2-6" fmla="*/ 2457450 h 2457450"/>
                  <a:gd name="connsiteX3-7" fmla="*/ 2095500 w 2095500"/>
                  <a:gd name="connsiteY3-8" fmla="*/ 0 h 2457450"/>
                  <a:gd name="connsiteX4-9" fmla="*/ 781050 w 2095500"/>
                  <a:gd name="connsiteY4-10" fmla="*/ 0 h 2457450"/>
                  <a:gd name="connsiteX0-11" fmla="*/ 781050 w 2095500"/>
                  <a:gd name="connsiteY0-12" fmla="*/ 0 h 2457450"/>
                  <a:gd name="connsiteX1-13" fmla="*/ 0 w 2095500"/>
                  <a:gd name="connsiteY1-14" fmla="*/ 1771650 h 2457450"/>
                  <a:gd name="connsiteX2-15" fmla="*/ 0 w 2095500"/>
                  <a:gd name="connsiteY2-16" fmla="*/ 2457450 h 2457450"/>
                  <a:gd name="connsiteX3-17" fmla="*/ 2095500 w 2095500"/>
                  <a:gd name="connsiteY3-18" fmla="*/ 0 h 2457450"/>
                  <a:gd name="connsiteX4-19" fmla="*/ 781050 w 2095500"/>
                  <a:gd name="connsiteY4-20" fmla="*/ 0 h 2457450"/>
                  <a:gd name="connsiteX0-21" fmla="*/ 781050 w 2095500"/>
                  <a:gd name="connsiteY0-22" fmla="*/ 0 h 2457450"/>
                  <a:gd name="connsiteX1-23" fmla="*/ 0 w 2095500"/>
                  <a:gd name="connsiteY1-24" fmla="*/ 1771650 h 2457450"/>
                  <a:gd name="connsiteX2-25" fmla="*/ 0 w 2095500"/>
                  <a:gd name="connsiteY2-26" fmla="*/ 2457450 h 2457450"/>
                  <a:gd name="connsiteX3-27" fmla="*/ 2095500 w 2095500"/>
                  <a:gd name="connsiteY3-28" fmla="*/ 0 h 2457450"/>
                  <a:gd name="connsiteX4-29" fmla="*/ 781050 w 2095500"/>
                  <a:gd name="connsiteY4-30" fmla="*/ 0 h 2457450"/>
                  <a:gd name="connsiteX0-31" fmla="*/ 781050 w 2095500"/>
                  <a:gd name="connsiteY0-32" fmla="*/ 0 h 2457450"/>
                  <a:gd name="connsiteX1-33" fmla="*/ 0 w 2095500"/>
                  <a:gd name="connsiteY1-34" fmla="*/ 1771650 h 2457450"/>
                  <a:gd name="connsiteX2-35" fmla="*/ 0 w 2095500"/>
                  <a:gd name="connsiteY2-36" fmla="*/ 2457450 h 2457450"/>
                  <a:gd name="connsiteX3-37" fmla="*/ 2095500 w 2095500"/>
                  <a:gd name="connsiteY3-38" fmla="*/ 0 h 2457450"/>
                  <a:gd name="connsiteX4-39" fmla="*/ 781050 w 2095500"/>
                  <a:gd name="connsiteY4-40" fmla="*/ 0 h 2457450"/>
                  <a:gd name="connsiteX0-41" fmla="*/ 781050 w 2095500"/>
                  <a:gd name="connsiteY0-42" fmla="*/ 0 h 2457450"/>
                  <a:gd name="connsiteX1-43" fmla="*/ 0 w 2095500"/>
                  <a:gd name="connsiteY1-44" fmla="*/ 1771650 h 2457450"/>
                  <a:gd name="connsiteX2-45" fmla="*/ 0 w 2095500"/>
                  <a:gd name="connsiteY2-46" fmla="*/ 2457450 h 2457450"/>
                  <a:gd name="connsiteX3-47" fmla="*/ 2095500 w 2095500"/>
                  <a:gd name="connsiteY3-48" fmla="*/ 0 h 2457450"/>
                  <a:gd name="connsiteX4-49" fmla="*/ 781050 w 2095500"/>
                  <a:gd name="connsiteY4-50" fmla="*/ 0 h 2457450"/>
                  <a:gd name="connsiteX0-51" fmla="*/ 781050 w 2095500"/>
                  <a:gd name="connsiteY0-52" fmla="*/ 0 h 2457450"/>
                  <a:gd name="connsiteX1-53" fmla="*/ 0 w 2095500"/>
                  <a:gd name="connsiteY1-54" fmla="*/ 1771650 h 2457450"/>
                  <a:gd name="connsiteX2-55" fmla="*/ 0 w 2095500"/>
                  <a:gd name="connsiteY2-56" fmla="*/ 2457450 h 2457450"/>
                  <a:gd name="connsiteX3-57" fmla="*/ 2095500 w 2095500"/>
                  <a:gd name="connsiteY3-58" fmla="*/ 0 h 2457450"/>
                  <a:gd name="connsiteX4-59" fmla="*/ 781050 w 2095500"/>
                  <a:gd name="connsiteY4-60" fmla="*/ 0 h 2457450"/>
                  <a:gd name="connsiteX0-61" fmla="*/ 781050 w 2095500"/>
                  <a:gd name="connsiteY0-62" fmla="*/ 0 h 2457450"/>
                  <a:gd name="connsiteX1-63" fmla="*/ 0 w 2095500"/>
                  <a:gd name="connsiteY1-64" fmla="*/ 1771650 h 2457450"/>
                  <a:gd name="connsiteX2-65" fmla="*/ 0 w 2095500"/>
                  <a:gd name="connsiteY2-66" fmla="*/ 2457450 h 2457450"/>
                  <a:gd name="connsiteX3-67" fmla="*/ 2095500 w 2095500"/>
                  <a:gd name="connsiteY3-68" fmla="*/ 0 h 2457450"/>
                  <a:gd name="connsiteX4-69" fmla="*/ 781050 w 2095500"/>
                  <a:gd name="connsiteY4-70" fmla="*/ 0 h 2457450"/>
                  <a:gd name="connsiteX0-71" fmla="*/ 781050 w 2095500"/>
                  <a:gd name="connsiteY0-72" fmla="*/ 0 h 2457450"/>
                  <a:gd name="connsiteX1-73" fmla="*/ 0 w 2095500"/>
                  <a:gd name="connsiteY1-74" fmla="*/ 1771650 h 2457450"/>
                  <a:gd name="connsiteX2-75" fmla="*/ 0 w 2095500"/>
                  <a:gd name="connsiteY2-76" fmla="*/ 2457450 h 2457450"/>
                  <a:gd name="connsiteX3-77" fmla="*/ 2095500 w 2095500"/>
                  <a:gd name="connsiteY3-78" fmla="*/ 0 h 2457450"/>
                  <a:gd name="connsiteX4-79" fmla="*/ 781050 w 2095500"/>
                  <a:gd name="connsiteY4-80" fmla="*/ 0 h 2457450"/>
                  <a:gd name="connsiteX0-81" fmla="*/ 781050 w 2095500"/>
                  <a:gd name="connsiteY0-82" fmla="*/ 0 h 2457450"/>
                  <a:gd name="connsiteX1-83" fmla="*/ 0 w 2095500"/>
                  <a:gd name="connsiteY1-84" fmla="*/ 1771650 h 2457450"/>
                  <a:gd name="connsiteX2-85" fmla="*/ 0 w 2095500"/>
                  <a:gd name="connsiteY2-86" fmla="*/ 2457450 h 2457450"/>
                  <a:gd name="connsiteX3-87" fmla="*/ 2095500 w 2095500"/>
                  <a:gd name="connsiteY3-88" fmla="*/ 0 h 2457450"/>
                  <a:gd name="connsiteX4-89" fmla="*/ 781050 w 2095500"/>
                  <a:gd name="connsiteY4-90" fmla="*/ 0 h 24574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095500" h="2457450">
                    <a:moveTo>
                      <a:pt x="781050" y="0"/>
                    </a:moveTo>
                    <a:cubicBezTo>
                      <a:pt x="590550" y="1035050"/>
                      <a:pt x="412750" y="1168400"/>
                      <a:pt x="0" y="1771650"/>
                    </a:cubicBezTo>
                    <a:lnTo>
                      <a:pt x="0" y="2457450"/>
                    </a:lnTo>
                    <a:cubicBezTo>
                      <a:pt x="1422400" y="1536700"/>
                      <a:pt x="1841500" y="577850"/>
                      <a:pt x="2095500" y="0"/>
                    </a:cubicBezTo>
                    <a:lnTo>
                      <a:pt x="781050" y="0"/>
                    </a:lnTo>
                    <a:close/>
                  </a:path>
                </a:pathLst>
              </a:custGeom>
              <a:solidFill>
                <a:srgbClr val="3C8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任意多边形: 形状 12"/>
              <p:cNvSpPr/>
              <p:nvPr/>
            </p:nvSpPr>
            <p:spPr>
              <a:xfrm>
                <a:off x="-1" y="0"/>
                <a:ext cx="2035277" cy="2386824"/>
              </a:xfrm>
              <a:custGeom>
                <a:avLst/>
                <a:gdLst>
                  <a:gd name="connsiteX0" fmla="*/ 781050 w 2095500"/>
                  <a:gd name="connsiteY0" fmla="*/ 0 h 2457450"/>
                  <a:gd name="connsiteX1" fmla="*/ 0 w 2095500"/>
                  <a:gd name="connsiteY1" fmla="*/ 1771650 h 2457450"/>
                  <a:gd name="connsiteX2" fmla="*/ 0 w 2095500"/>
                  <a:gd name="connsiteY2" fmla="*/ 2457450 h 2457450"/>
                  <a:gd name="connsiteX3" fmla="*/ 2095500 w 2095500"/>
                  <a:gd name="connsiteY3" fmla="*/ 0 h 2457450"/>
                  <a:gd name="connsiteX4" fmla="*/ 781050 w 2095500"/>
                  <a:gd name="connsiteY4" fmla="*/ 0 h 2457450"/>
                  <a:gd name="connsiteX0-1" fmla="*/ 781050 w 2095500"/>
                  <a:gd name="connsiteY0-2" fmla="*/ 0 h 2457450"/>
                  <a:gd name="connsiteX1-3" fmla="*/ 0 w 2095500"/>
                  <a:gd name="connsiteY1-4" fmla="*/ 1771650 h 2457450"/>
                  <a:gd name="connsiteX2-5" fmla="*/ 0 w 2095500"/>
                  <a:gd name="connsiteY2-6" fmla="*/ 2457450 h 2457450"/>
                  <a:gd name="connsiteX3-7" fmla="*/ 2095500 w 2095500"/>
                  <a:gd name="connsiteY3-8" fmla="*/ 0 h 2457450"/>
                  <a:gd name="connsiteX4-9" fmla="*/ 781050 w 2095500"/>
                  <a:gd name="connsiteY4-10" fmla="*/ 0 h 2457450"/>
                  <a:gd name="connsiteX0-11" fmla="*/ 781050 w 2095500"/>
                  <a:gd name="connsiteY0-12" fmla="*/ 0 h 2457450"/>
                  <a:gd name="connsiteX1-13" fmla="*/ 0 w 2095500"/>
                  <a:gd name="connsiteY1-14" fmla="*/ 1771650 h 2457450"/>
                  <a:gd name="connsiteX2-15" fmla="*/ 0 w 2095500"/>
                  <a:gd name="connsiteY2-16" fmla="*/ 2457450 h 2457450"/>
                  <a:gd name="connsiteX3-17" fmla="*/ 2095500 w 2095500"/>
                  <a:gd name="connsiteY3-18" fmla="*/ 0 h 2457450"/>
                  <a:gd name="connsiteX4-19" fmla="*/ 781050 w 2095500"/>
                  <a:gd name="connsiteY4-20" fmla="*/ 0 h 2457450"/>
                  <a:gd name="connsiteX0-21" fmla="*/ 781050 w 2095500"/>
                  <a:gd name="connsiteY0-22" fmla="*/ 0 h 2457450"/>
                  <a:gd name="connsiteX1-23" fmla="*/ 0 w 2095500"/>
                  <a:gd name="connsiteY1-24" fmla="*/ 1771650 h 2457450"/>
                  <a:gd name="connsiteX2-25" fmla="*/ 0 w 2095500"/>
                  <a:gd name="connsiteY2-26" fmla="*/ 2457450 h 2457450"/>
                  <a:gd name="connsiteX3-27" fmla="*/ 2095500 w 2095500"/>
                  <a:gd name="connsiteY3-28" fmla="*/ 0 h 2457450"/>
                  <a:gd name="connsiteX4-29" fmla="*/ 781050 w 2095500"/>
                  <a:gd name="connsiteY4-30" fmla="*/ 0 h 2457450"/>
                  <a:gd name="connsiteX0-31" fmla="*/ 781050 w 2095500"/>
                  <a:gd name="connsiteY0-32" fmla="*/ 0 h 2457450"/>
                  <a:gd name="connsiteX1-33" fmla="*/ 0 w 2095500"/>
                  <a:gd name="connsiteY1-34" fmla="*/ 1771650 h 2457450"/>
                  <a:gd name="connsiteX2-35" fmla="*/ 0 w 2095500"/>
                  <a:gd name="connsiteY2-36" fmla="*/ 2457450 h 2457450"/>
                  <a:gd name="connsiteX3-37" fmla="*/ 2095500 w 2095500"/>
                  <a:gd name="connsiteY3-38" fmla="*/ 0 h 2457450"/>
                  <a:gd name="connsiteX4-39" fmla="*/ 781050 w 2095500"/>
                  <a:gd name="connsiteY4-40" fmla="*/ 0 h 2457450"/>
                  <a:gd name="connsiteX0-41" fmla="*/ 781050 w 2095500"/>
                  <a:gd name="connsiteY0-42" fmla="*/ 0 h 2457450"/>
                  <a:gd name="connsiteX1-43" fmla="*/ 0 w 2095500"/>
                  <a:gd name="connsiteY1-44" fmla="*/ 1771650 h 2457450"/>
                  <a:gd name="connsiteX2-45" fmla="*/ 0 w 2095500"/>
                  <a:gd name="connsiteY2-46" fmla="*/ 2457450 h 2457450"/>
                  <a:gd name="connsiteX3-47" fmla="*/ 2095500 w 2095500"/>
                  <a:gd name="connsiteY3-48" fmla="*/ 0 h 2457450"/>
                  <a:gd name="connsiteX4-49" fmla="*/ 781050 w 2095500"/>
                  <a:gd name="connsiteY4-50" fmla="*/ 0 h 2457450"/>
                  <a:gd name="connsiteX0-51" fmla="*/ 781050 w 2095500"/>
                  <a:gd name="connsiteY0-52" fmla="*/ 0 h 2457450"/>
                  <a:gd name="connsiteX1-53" fmla="*/ 0 w 2095500"/>
                  <a:gd name="connsiteY1-54" fmla="*/ 1771650 h 2457450"/>
                  <a:gd name="connsiteX2-55" fmla="*/ 0 w 2095500"/>
                  <a:gd name="connsiteY2-56" fmla="*/ 2457450 h 2457450"/>
                  <a:gd name="connsiteX3-57" fmla="*/ 2095500 w 2095500"/>
                  <a:gd name="connsiteY3-58" fmla="*/ 0 h 2457450"/>
                  <a:gd name="connsiteX4-59" fmla="*/ 781050 w 2095500"/>
                  <a:gd name="connsiteY4-60" fmla="*/ 0 h 2457450"/>
                  <a:gd name="connsiteX0-61" fmla="*/ 781050 w 2095500"/>
                  <a:gd name="connsiteY0-62" fmla="*/ 0 h 2457450"/>
                  <a:gd name="connsiteX1-63" fmla="*/ 0 w 2095500"/>
                  <a:gd name="connsiteY1-64" fmla="*/ 1771650 h 2457450"/>
                  <a:gd name="connsiteX2-65" fmla="*/ 0 w 2095500"/>
                  <a:gd name="connsiteY2-66" fmla="*/ 2457450 h 2457450"/>
                  <a:gd name="connsiteX3-67" fmla="*/ 2095500 w 2095500"/>
                  <a:gd name="connsiteY3-68" fmla="*/ 0 h 2457450"/>
                  <a:gd name="connsiteX4-69" fmla="*/ 781050 w 2095500"/>
                  <a:gd name="connsiteY4-70" fmla="*/ 0 h 2457450"/>
                  <a:gd name="connsiteX0-71" fmla="*/ 781050 w 2095500"/>
                  <a:gd name="connsiteY0-72" fmla="*/ 0 h 2457450"/>
                  <a:gd name="connsiteX1-73" fmla="*/ 0 w 2095500"/>
                  <a:gd name="connsiteY1-74" fmla="*/ 1771650 h 2457450"/>
                  <a:gd name="connsiteX2-75" fmla="*/ 0 w 2095500"/>
                  <a:gd name="connsiteY2-76" fmla="*/ 2457450 h 2457450"/>
                  <a:gd name="connsiteX3-77" fmla="*/ 2095500 w 2095500"/>
                  <a:gd name="connsiteY3-78" fmla="*/ 0 h 2457450"/>
                  <a:gd name="connsiteX4-79" fmla="*/ 781050 w 2095500"/>
                  <a:gd name="connsiteY4-80" fmla="*/ 0 h 2457450"/>
                  <a:gd name="connsiteX0-81" fmla="*/ 781050 w 2095500"/>
                  <a:gd name="connsiteY0-82" fmla="*/ 0 h 2457450"/>
                  <a:gd name="connsiteX1-83" fmla="*/ 0 w 2095500"/>
                  <a:gd name="connsiteY1-84" fmla="*/ 1771650 h 2457450"/>
                  <a:gd name="connsiteX2-85" fmla="*/ 0 w 2095500"/>
                  <a:gd name="connsiteY2-86" fmla="*/ 2457450 h 2457450"/>
                  <a:gd name="connsiteX3-87" fmla="*/ 2095500 w 2095500"/>
                  <a:gd name="connsiteY3-88" fmla="*/ 0 h 2457450"/>
                  <a:gd name="connsiteX4-89" fmla="*/ 781050 w 2095500"/>
                  <a:gd name="connsiteY4-90" fmla="*/ 0 h 24574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095500" h="2457450">
                    <a:moveTo>
                      <a:pt x="781050" y="0"/>
                    </a:moveTo>
                    <a:cubicBezTo>
                      <a:pt x="590550" y="1035050"/>
                      <a:pt x="412750" y="1168400"/>
                      <a:pt x="0" y="1771650"/>
                    </a:cubicBezTo>
                    <a:lnTo>
                      <a:pt x="0" y="2457450"/>
                    </a:lnTo>
                    <a:cubicBezTo>
                      <a:pt x="1422400" y="1536700"/>
                      <a:pt x="1841500" y="577850"/>
                      <a:pt x="2095500" y="0"/>
                    </a:cubicBezTo>
                    <a:lnTo>
                      <a:pt x="78105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53FCBF"/>
                  </a:gs>
                  <a:gs pos="100000">
                    <a:srgbClr val="00D3FF"/>
                  </a:gs>
                </a:gsLst>
                <a:lin ang="81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9" name="任意多边形: 形状 35"/>
            <p:cNvSpPr/>
            <p:nvPr/>
          </p:nvSpPr>
          <p:spPr>
            <a:xfrm>
              <a:off x="771188" y="17845"/>
              <a:ext cx="8628509" cy="6858001"/>
            </a:xfrm>
            <a:custGeom>
              <a:avLst/>
              <a:gdLst>
                <a:gd name="connsiteX0" fmla="*/ 3333135 w 8672052"/>
                <a:gd name="connsiteY0" fmla="*/ 0 h 6931742"/>
                <a:gd name="connsiteX1" fmla="*/ 0 w 8672052"/>
                <a:gd name="connsiteY1" fmla="*/ 6931742 h 6931742"/>
                <a:gd name="connsiteX2" fmla="*/ 2861187 w 8672052"/>
                <a:gd name="connsiteY2" fmla="*/ 6843251 h 6931742"/>
                <a:gd name="connsiteX3" fmla="*/ 8672052 w 8672052"/>
                <a:gd name="connsiteY3" fmla="*/ 58993 h 6931742"/>
                <a:gd name="connsiteX4" fmla="*/ 3333135 w 8672052"/>
                <a:gd name="connsiteY4" fmla="*/ 0 h 6931742"/>
                <a:gd name="connsiteX0-1" fmla="*/ 3304106 w 8643023"/>
                <a:gd name="connsiteY0-2" fmla="*/ 0 h 6873685"/>
                <a:gd name="connsiteX1-3" fmla="*/ 0 w 8643023"/>
                <a:gd name="connsiteY1-4" fmla="*/ 6873685 h 6873685"/>
                <a:gd name="connsiteX2-5" fmla="*/ 2832158 w 8643023"/>
                <a:gd name="connsiteY2-6" fmla="*/ 6843251 h 6873685"/>
                <a:gd name="connsiteX3-7" fmla="*/ 8643023 w 8643023"/>
                <a:gd name="connsiteY3-8" fmla="*/ 58993 h 6873685"/>
                <a:gd name="connsiteX4-9" fmla="*/ 3304106 w 8643023"/>
                <a:gd name="connsiteY4-10" fmla="*/ 0 h 6873685"/>
                <a:gd name="connsiteX0-11" fmla="*/ 3304106 w 8643023"/>
                <a:gd name="connsiteY0-12" fmla="*/ 0 h 6886794"/>
                <a:gd name="connsiteX1-13" fmla="*/ 0 w 8643023"/>
                <a:gd name="connsiteY1-14" fmla="*/ 6873685 h 6886794"/>
                <a:gd name="connsiteX2-15" fmla="*/ 2832158 w 8643023"/>
                <a:gd name="connsiteY2-16" fmla="*/ 6886794 h 6886794"/>
                <a:gd name="connsiteX3-17" fmla="*/ 8643023 w 8643023"/>
                <a:gd name="connsiteY3-18" fmla="*/ 58993 h 6886794"/>
                <a:gd name="connsiteX4-19" fmla="*/ 3304106 w 8643023"/>
                <a:gd name="connsiteY4-20" fmla="*/ 0 h 6886794"/>
                <a:gd name="connsiteX0-21" fmla="*/ 3304106 w 8643023"/>
                <a:gd name="connsiteY0-22" fmla="*/ 0 h 6873685"/>
                <a:gd name="connsiteX1-23" fmla="*/ 0 w 8643023"/>
                <a:gd name="connsiteY1-24" fmla="*/ 6873685 h 6873685"/>
                <a:gd name="connsiteX2-25" fmla="*/ 2832158 w 8643023"/>
                <a:gd name="connsiteY2-26" fmla="*/ 6857765 h 6873685"/>
                <a:gd name="connsiteX3-27" fmla="*/ 8643023 w 8643023"/>
                <a:gd name="connsiteY3-28" fmla="*/ 58993 h 6873685"/>
                <a:gd name="connsiteX4-29" fmla="*/ 3304106 w 8643023"/>
                <a:gd name="connsiteY4-30" fmla="*/ 0 h 6873685"/>
                <a:gd name="connsiteX0-31" fmla="*/ 3289592 w 8628509"/>
                <a:gd name="connsiteY0-32" fmla="*/ 0 h 6859171"/>
                <a:gd name="connsiteX1-33" fmla="*/ 0 w 8628509"/>
                <a:gd name="connsiteY1-34" fmla="*/ 6859171 h 6859171"/>
                <a:gd name="connsiteX2-35" fmla="*/ 2817644 w 8628509"/>
                <a:gd name="connsiteY2-36" fmla="*/ 6857765 h 6859171"/>
                <a:gd name="connsiteX3-37" fmla="*/ 8628509 w 8628509"/>
                <a:gd name="connsiteY3-38" fmla="*/ 58993 h 6859171"/>
                <a:gd name="connsiteX4-39" fmla="*/ 3289592 w 8628509"/>
                <a:gd name="connsiteY4-40" fmla="*/ 0 h 6859171"/>
                <a:gd name="connsiteX0-41" fmla="*/ 3289592 w 8628509"/>
                <a:gd name="connsiteY0-42" fmla="*/ 0 h 6859171"/>
                <a:gd name="connsiteX1-43" fmla="*/ 0 w 8628509"/>
                <a:gd name="connsiteY1-44" fmla="*/ 6859171 h 6859171"/>
                <a:gd name="connsiteX2-45" fmla="*/ 2817644 w 8628509"/>
                <a:gd name="connsiteY2-46" fmla="*/ 6857765 h 6859171"/>
                <a:gd name="connsiteX3-47" fmla="*/ 8628509 w 8628509"/>
                <a:gd name="connsiteY3-48" fmla="*/ 58993 h 6859171"/>
                <a:gd name="connsiteX4-49" fmla="*/ 3289592 w 8628509"/>
                <a:gd name="connsiteY4-50" fmla="*/ 0 h 6859171"/>
                <a:gd name="connsiteX0-51" fmla="*/ 3289592 w 8628509"/>
                <a:gd name="connsiteY0-52" fmla="*/ 0 h 6859171"/>
                <a:gd name="connsiteX1-53" fmla="*/ 0 w 8628509"/>
                <a:gd name="connsiteY1-54" fmla="*/ 6859171 h 6859171"/>
                <a:gd name="connsiteX2-55" fmla="*/ 2817644 w 8628509"/>
                <a:gd name="connsiteY2-56" fmla="*/ 6857765 h 6859171"/>
                <a:gd name="connsiteX3-57" fmla="*/ 8628509 w 8628509"/>
                <a:gd name="connsiteY3-58" fmla="*/ 58993 h 6859171"/>
                <a:gd name="connsiteX4-59" fmla="*/ 3289592 w 8628509"/>
                <a:gd name="connsiteY4-60" fmla="*/ 0 h 6859171"/>
                <a:gd name="connsiteX0-61" fmla="*/ 3289592 w 8628509"/>
                <a:gd name="connsiteY0-62" fmla="*/ 0 h 6859171"/>
                <a:gd name="connsiteX1-63" fmla="*/ 0 w 8628509"/>
                <a:gd name="connsiteY1-64" fmla="*/ 6859171 h 6859171"/>
                <a:gd name="connsiteX2-65" fmla="*/ 2817644 w 8628509"/>
                <a:gd name="connsiteY2-66" fmla="*/ 6857765 h 6859171"/>
                <a:gd name="connsiteX3-67" fmla="*/ 8628509 w 8628509"/>
                <a:gd name="connsiteY3-68" fmla="*/ 58993 h 6859171"/>
                <a:gd name="connsiteX4-69" fmla="*/ 3289592 w 8628509"/>
                <a:gd name="connsiteY4-70" fmla="*/ 0 h 6859171"/>
                <a:gd name="connsiteX0-71" fmla="*/ 3289592 w 8628509"/>
                <a:gd name="connsiteY0-72" fmla="*/ 0 h 6859171"/>
                <a:gd name="connsiteX1-73" fmla="*/ 0 w 8628509"/>
                <a:gd name="connsiteY1-74" fmla="*/ 6859171 h 6859171"/>
                <a:gd name="connsiteX2-75" fmla="*/ 2817644 w 8628509"/>
                <a:gd name="connsiteY2-76" fmla="*/ 6857765 h 6859171"/>
                <a:gd name="connsiteX3-77" fmla="*/ 8628509 w 8628509"/>
                <a:gd name="connsiteY3-78" fmla="*/ 58993 h 6859171"/>
                <a:gd name="connsiteX4-79" fmla="*/ 3289592 w 8628509"/>
                <a:gd name="connsiteY4-80" fmla="*/ 0 h 6859171"/>
                <a:gd name="connsiteX0-81" fmla="*/ 3289592 w 8628509"/>
                <a:gd name="connsiteY0-82" fmla="*/ 0 h 6859171"/>
                <a:gd name="connsiteX1-83" fmla="*/ 0 w 8628509"/>
                <a:gd name="connsiteY1-84" fmla="*/ 6859171 h 6859171"/>
                <a:gd name="connsiteX2-85" fmla="*/ 2817644 w 8628509"/>
                <a:gd name="connsiteY2-86" fmla="*/ 6857765 h 6859171"/>
                <a:gd name="connsiteX3-87" fmla="*/ 8628509 w 8628509"/>
                <a:gd name="connsiteY3-88" fmla="*/ 58993 h 6859171"/>
                <a:gd name="connsiteX4-89" fmla="*/ 3289592 w 8628509"/>
                <a:gd name="connsiteY4-90" fmla="*/ 0 h 6859171"/>
                <a:gd name="connsiteX0-91" fmla="*/ 3289592 w 8628509"/>
                <a:gd name="connsiteY0-92" fmla="*/ 0 h 6859171"/>
                <a:gd name="connsiteX1-93" fmla="*/ 0 w 8628509"/>
                <a:gd name="connsiteY1-94" fmla="*/ 6859171 h 6859171"/>
                <a:gd name="connsiteX2-95" fmla="*/ 2817644 w 8628509"/>
                <a:gd name="connsiteY2-96" fmla="*/ 6857765 h 6859171"/>
                <a:gd name="connsiteX3-97" fmla="*/ 8628509 w 8628509"/>
                <a:gd name="connsiteY3-98" fmla="*/ 58993 h 6859171"/>
                <a:gd name="connsiteX4-99" fmla="*/ 3289592 w 8628509"/>
                <a:gd name="connsiteY4-100" fmla="*/ 0 h 6859171"/>
                <a:gd name="connsiteX0-101" fmla="*/ 3289592 w 8628509"/>
                <a:gd name="connsiteY0-102" fmla="*/ 0 h 6859171"/>
                <a:gd name="connsiteX1-103" fmla="*/ 0 w 8628509"/>
                <a:gd name="connsiteY1-104" fmla="*/ 6859171 h 6859171"/>
                <a:gd name="connsiteX2-105" fmla="*/ 2817644 w 8628509"/>
                <a:gd name="connsiteY2-106" fmla="*/ 6857765 h 6859171"/>
                <a:gd name="connsiteX3-107" fmla="*/ 8628509 w 8628509"/>
                <a:gd name="connsiteY3-108" fmla="*/ 58993 h 6859171"/>
                <a:gd name="connsiteX4-109" fmla="*/ 3289592 w 8628509"/>
                <a:gd name="connsiteY4-110" fmla="*/ 0 h 6859171"/>
                <a:gd name="connsiteX0-111" fmla="*/ 3302292 w 8628509"/>
                <a:gd name="connsiteY0-112" fmla="*/ 0 h 6821071"/>
                <a:gd name="connsiteX1-113" fmla="*/ 0 w 8628509"/>
                <a:gd name="connsiteY1-114" fmla="*/ 6821071 h 6821071"/>
                <a:gd name="connsiteX2-115" fmla="*/ 2817644 w 8628509"/>
                <a:gd name="connsiteY2-116" fmla="*/ 6819665 h 6821071"/>
                <a:gd name="connsiteX3-117" fmla="*/ 8628509 w 8628509"/>
                <a:gd name="connsiteY3-118" fmla="*/ 20893 h 6821071"/>
                <a:gd name="connsiteX4-119" fmla="*/ 3302292 w 8628509"/>
                <a:gd name="connsiteY4-120" fmla="*/ 0 h 6821071"/>
                <a:gd name="connsiteX0-121" fmla="*/ 3302292 w 8628509"/>
                <a:gd name="connsiteY0-122" fmla="*/ 0 h 6821071"/>
                <a:gd name="connsiteX1-123" fmla="*/ 0 w 8628509"/>
                <a:gd name="connsiteY1-124" fmla="*/ 6821071 h 6821071"/>
                <a:gd name="connsiteX2-125" fmla="*/ 2817644 w 8628509"/>
                <a:gd name="connsiteY2-126" fmla="*/ 6819665 h 6821071"/>
                <a:gd name="connsiteX3-127" fmla="*/ 8628509 w 8628509"/>
                <a:gd name="connsiteY3-128" fmla="*/ 20893 h 6821071"/>
                <a:gd name="connsiteX4-129" fmla="*/ 3302292 w 8628509"/>
                <a:gd name="connsiteY4-130" fmla="*/ 0 h 6821071"/>
                <a:gd name="connsiteX0-131" fmla="*/ 3314992 w 8628509"/>
                <a:gd name="connsiteY0-132" fmla="*/ 17207 h 6800178"/>
                <a:gd name="connsiteX1-133" fmla="*/ 0 w 8628509"/>
                <a:gd name="connsiteY1-134" fmla="*/ 6800178 h 6800178"/>
                <a:gd name="connsiteX2-135" fmla="*/ 2817644 w 8628509"/>
                <a:gd name="connsiteY2-136" fmla="*/ 6798772 h 6800178"/>
                <a:gd name="connsiteX3-137" fmla="*/ 8628509 w 8628509"/>
                <a:gd name="connsiteY3-138" fmla="*/ 0 h 6800178"/>
                <a:gd name="connsiteX4-139" fmla="*/ 3314992 w 8628509"/>
                <a:gd name="connsiteY4-140" fmla="*/ 17207 h 6800178"/>
                <a:gd name="connsiteX0-141" fmla="*/ 3327692 w 8628509"/>
                <a:gd name="connsiteY0-142" fmla="*/ 0 h 6833771"/>
                <a:gd name="connsiteX1-143" fmla="*/ 0 w 8628509"/>
                <a:gd name="connsiteY1-144" fmla="*/ 6833771 h 6833771"/>
                <a:gd name="connsiteX2-145" fmla="*/ 2817644 w 8628509"/>
                <a:gd name="connsiteY2-146" fmla="*/ 6832365 h 6833771"/>
                <a:gd name="connsiteX3-147" fmla="*/ 8628509 w 8628509"/>
                <a:gd name="connsiteY3-148" fmla="*/ 33593 h 6833771"/>
                <a:gd name="connsiteX4-149" fmla="*/ 3327692 w 8628509"/>
                <a:gd name="connsiteY4-150" fmla="*/ 0 h 6833771"/>
                <a:gd name="connsiteX0-151" fmla="*/ 3327692 w 8628509"/>
                <a:gd name="connsiteY0-152" fmla="*/ 0 h 6821071"/>
                <a:gd name="connsiteX1-153" fmla="*/ 0 w 8628509"/>
                <a:gd name="connsiteY1-154" fmla="*/ 6821071 h 6821071"/>
                <a:gd name="connsiteX2-155" fmla="*/ 2817644 w 8628509"/>
                <a:gd name="connsiteY2-156" fmla="*/ 6819665 h 6821071"/>
                <a:gd name="connsiteX3-157" fmla="*/ 8628509 w 8628509"/>
                <a:gd name="connsiteY3-158" fmla="*/ 20893 h 6821071"/>
                <a:gd name="connsiteX4-159" fmla="*/ 3327692 w 8628509"/>
                <a:gd name="connsiteY4-160" fmla="*/ 0 h 6821071"/>
                <a:gd name="connsiteX0-161" fmla="*/ 3327692 w 8628509"/>
                <a:gd name="connsiteY0-162" fmla="*/ 0 h 6808371"/>
                <a:gd name="connsiteX1-163" fmla="*/ 0 w 8628509"/>
                <a:gd name="connsiteY1-164" fmla="*/ 6808371 h 6808371"/>
                <a:gd name="connsiteX2-165" fmla="*/ 2817644 w 8628509"/>
                <a:gd name="connsiteY2-166" fmla="*/ 6806965 h 6808371"/>
                <a:gd name="connsiteX3-167" fmla="*/ 8628509 w 8628509"/>
                <a:gd name="connsiteY3-168" fmla="*/ 8193 h 6808371"/>
                <a:gd name="connsiteX4-169" fmla="*/ 3327692 w 8628509"/>
                <a:gd name="connsiteY4-170" fmla="*/ 0 h 6808371"/>
                <a:gd name="connsiteX0-171" fmla="*/ 3327692 w 8628509"/>
                <a:gd name="connsiteY0-172" fmla="*/ 0 h 6808371"/>
                <a:gd name="connsiteX1-173" fmla="*/ 0 w 8628509"/>
                <a:gd name="connsiteY1-174" fmla="*/ 6808371 h 6808371"/>
                <a:gd name="connsiteX2-175" fmla="*/ 2817644 w 8628509"/>
                <a:gd name="connsiteY2-176" fmla="*/ 6806965 h 6808371"/>
                <a:gd name="connsiteX3-177" fmla="*/ 8628509 w 8628509"/>
                <a:gd name="connsiteY3-178" fmla="*/ 8193 h 6808371"/>
                <a:gd name="connsiteX4-179" fmla="*/ 3327692 w 8628509"/>
                <a:gd name="connsiteY4-180" fmla="*/ 0 h 6808371"/>
                <a:gd name="connsiteX0-181" fmla="*/ 3327692 w 8628509"/>
                <a:gd name="connsiteY0-182" fmla="*/ 0 h 6808371"/>
                <a:gd name="connsiteX1-183" fmla="*/ 0 w 8628509"/>
                <a:gd name="connsiteY1-184" fmla="*/ 6808371 h 6808371"/>
                <a:gd name="connsiteX2-185" fmla="*/ 2817644 w 8628509"/>
                <a:gd name="connsiteY2-186" fmla="*/ 6806965 h 6808371"/>
                <a:gd name="connsiteX3-187" fmla="*/ 8628509 w 8628509"/>
                <a:gd name="connsiteY3-188" fmla="*/ 8193 h 6808371"/>
                <a:gd name="connsiteX4-189" fmla="*/ 3327692 w 8628509"/>
                <a:gd name="connsiteY4-190" fmla="*/ 0 h 680837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8628509" h="6808371">
                  <a:moveTo>
                    <a:pt x="3327692" y="0"/>
                  </a:moveTo>
                  <a:cubicBezTo>
                    <a:pt x="1858325" y="2153040"/>
                    <a:pt x="646588" y="4304266"/>
                    <a:pt x="0" y="6808371"/>
                  </a:cubicBezTo>
                  <a:lnTo>
                    <a:pt x="2817644" y="6806965"/>
                  </a:lnTo>
                  <a:cubicBezTo>
                    <a:pt x="3402049" y="4521658"/>
                    <a:pt x="5929554" y="1702950"/>
                    <a:pt x="8628509" y="8193"/>
                  </a:cubicBezTo>
                  <a:lnTo>
                    <a:pt x="3327692" y="0"/>
                  </a:lnTo>
                  <a:close/>
                </a:path>
              </a:pathLst>
            </a:custGeom>
            <a:solidFill>
              <a:srgbClr val="002775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0" name="组 19"/>
            <p:cNvGrpSpPr/>
            <p:nvPr/>
          </p:nvGrpSpPr>
          <p:grpSpPr>
            <a:xfrm rot="10800000">
              <a:off x="10365253" y="4715725"/>
              <a:ext cx="1826747" cy="2142275"/>
              <a:chOff x="-1" y="0"/>
              <a:chExt cx="2035277" cy="2386824"/>
            </a:xfrm>
          </p:grpSpPr>
          <p:sp>
            <p:nvSpPr>
              <p:cNvPr id="21" name="任意多边形: 形状 4"/>
              <p:cNvSpPr/>
              <p:nvPr/>
            </p:nvSpPr>
            <p:spPr>
              <a:xfrm>
                <a:off x="-1" y="0"/>
                <a:ext cx="1750338" cy="2052669"/>
              </a:xfrm>
              <a:custGeom>
                <a:avLst/>
                <a:gdLst>
                  <a:gd name="connsiteX0" fmla="*/ 781050 w 2095500"/>
                  <a:gd name="connsiteY0" fmla="*/ 0 h 2457450"/>
                  <a:gd name="connsiteX1" fmla="*/ 0 w 2095500"/>
                  <a:gd name="connsiteY1" fmla="*/ 1771650 h 2457450"/>
                  <a:gd name="connsiteX2" fmla="*/ 0 w 2095500"/>
                  <a:gd name="connsiteY2" fmla="*/ 2457450 h 2457450"/>
                  <a:gd name="connsiteX3" fmla="*/ 2095500 w 2095500"/>
                  <a:gd name="connsiteY3" fmla="*/ 0 h 2457450"/>
                  <a:gd name="connsiteX4" fmla="*/ 781050 w 2095500"/>
                  <a:gd name="connsiteY4" fmla="*/ 0 h 2457450"/>
                  <a:gd name="connsiteX0-1" fmla="*/ 781050 w 2095500"/>
                  <a:gd name="connsiteY0-2" fmla="*/ 0 h 2457450"/>
                  <a:gd name="connsiteX1-3" fmla="*/ 0 w 2095500"/>
                  <a:gd name="connsiteY1-4" fmla="*/ 1771650 h 2457450"/>
                  <a:gd name="connsiteX2-5" fmla="*/ 0 w 2095500"/>
                  <a:gd name="connsiteY2-6" fmla="*/ 2457450 h 2457450"/>
                  <a:gd name="connsiteX3-7" fmla="*/ 2095500 w 2095500"/>
                  <a:gd name="connsiteY3-8" fmla="*/ 0 h 2457450"/>
                  <a:gd name="connsiteX4-9" fmla="*/ 781050 w 2095500"/>
                  <a:gd name="connsiteY4-10" fmla="*/ 0 h 2457450"/>
                  <a:gd name="connsiteX0-11" fmla="*/ 781050 w 2095500"/>
                  <a:gd name="connsiteY0-12" fmla="*/ 0 h 2457450"/>
                  <a:gd name="connsiteX1-13" fmla="*/ 0 w 2095500"/>
                  <a:gd name="connsiteY1-14" fmla="*/ 1771650 h 2457450"/>
                  <a:gd name="connsiteX2-15" fmla="*/ 0 w 2095500"/>
                  <a:gd name="connsiteY2-16" fmla="*/ 2457450 h 2457450"/>
                  <a:gd name="connsiteX3-17" fmla="*/ 2095500 w 2095500"/>
                  <a:gd name="connsiteY3-18" fmla="*/ 0 h 2457450"/>
                  <a:gd name="connsiteX4-19" fmla="*/ 781050 w 2095500"/>
                  <a:gd name="connsiteY4-20" fmla="*/ 0 h 2457450"/>
                  <a:gd name="connsiteX0-21" fmla="*/ 781050 w 2095500"/>
                  <a:gd name="connsiteY0-22" fmla="*/ 0 h 2457450"/>
                  <a:gd name="connsiteX1-23" fmla="*/ 0 w 2095500"/>
                  <a:gd name="connsiteY1-24" fmla="*/ 1771650 h 2457450"/>
                  <a:gd name="connsiteX2-25" fmla="*/ 0 w 2095500"/>
                  <a:gd name="connsiteY2-26" fmla="*/ 2457450 h 2457450"/>
                  <a:gd name="connsiteX3-27" fmla="*/ 2095500 w 2095500"/>
                  <a:gd name="connsiteY3-28" fmla="*/ 0 h 2457450"/>
                  <a:gd name="connsiteX4-29" fmla="*/ 781050 w 2095500"/>
                  <a:gd name="connsiteY4-30" fmla="*/ 0 h 2457450"/>
                  <a:gd name="connsiteX0-31" fmla="*/ 781050 w 2095500"/>
                  <a:gd name="connsiteY0-32" fmla="*/ 0 h 2457450"/>
                  <a:gd name="connsiteX1-33" fmla="*/ 0 w 2095500"/>
                  <a:gd name="connsiteY1-34" fmla="*/ 1771650 h 2457450"/>
                  <a:gd name="connsiteX2-35" fmla="*/ 0 w 2095500"/>
                  <a:gd name="connsiteY2-36" fmla="*/ 2457450 h 2457450"/>
                  <a:gd name="connsiteX3-37" fmla="*/ 2095500 w 2095500"/>
                  <a:gd name="connsiteY3-38" fmla="*/ 0 h 2457450"/>
                  <a:gd name="connsiteX4-39" fmla="*/ 781050 w 2095500"/>
                  <a:gd name="connsiteY4-40" fmla="*/ 0 h 2457450"/>
                  <a:gd name="connsiteX0-41" fmla="*/ 781050 w 2095500"/>
                  <a:gd name="connsiteY0-42" fmla="*/ 0 h 2457450"/>
                  <a:gd name="connsiteX1-43" fmla="*/ 0 w 2095500"/>
                  <a:gd name="connsiteY1-44" fmla="*/ 1771650 h 2457450"/>
                  <a:gd name="connsiteX2-45" fmla="*/ 0 w 2095500"/>
                  <a:gd name="connsiteY2-46" fmla="*/ 2457450 h 2457450"/>
                  <a:gd name="connsiteX3-47" fmla="*/ 2095500 w 2095500"/>
                  <a:gd name="connsiteY3-48" fmla="*/ 0 h 2457450"/>
                  <a:gd name="connsiteX4-49" fmla="*/ 781050 w 2095500"/>
                  <a:gd name="connsiteY4-50" fmla="*/ 0 h 2457450"/>
                  <a:gd name="connsiteX0-51" fmla="*/ 781050 w 2095500"/>
                  <a:gd name="connsiteY0-52" fmla="*/ 0 h 2457450"/>
                  <a:gd name="connsiteX1-53" fmla="*/ 0 w 2095500"/>
                  <a:gd name="connsiteY1-54" fmla="*/ 1771650 h 2457450"/>
                  <a:gd name="connsiteX2-55" fmla="*/ 0 w 2095500"/>
                  <a:gd name="connsiteY2-56" fmla="*/ 2457450 h 2457450"/>
                  <a:gd name="connsiteX3-57" fmla="*/ 2095500 w 2095500"/>
                  <a:gd name="connsiteY3-58" fmla="*/ 0 h 2457450"/>
                  <a:gd name="connsiteX4-59" fmla="*/ 781050 w 2095500"/>
                  <a:gd name="connsiteY4-60" fmla="*/ 0 h 2457450"/>
                  <a:gd name="connsiteX0-61" fmla="*/ 781050 w 2095500"/>
                  <a:gd name="connsiteY0-62" fmla="*/ 0 h 2457450"/>
                  <a:gd name="connsiteX1-63" fmla="*/ 0 w 2095500"/>
                  <a:gd name="connsiteY1-64" fmla="*/ 1771650 h 2457450"/>
                  <a:gd name="connsiteX2-65" fmla="*/ 0 w 2095500"/>
                  <a:gd name="connsiteY2-66" fmla="*/ 2457450 h 2457450"/>
                  <a:gd name="connsiteX3-67" fmla="*/ 2095500 w 2095500"/>
                  <a:gd name="connsiteY3-68" fmla="*/ 0 h 2457450"/>
                  <a:gd name="connsiteX4-69" fmla="*/ 781050 w 2095500"/>
                  <a:gd name="connsiteY4-70" fmla="*/ 0 h 2457450"/>
                  <a:gd name="connsiteX0-71" fmla="*/ 781050 w 2095500"/>
                  <a:gd name="connsiteY0-72" fmla="*/ 0 h 2457450"/>
                  <a:gd name="connsiteX1-73" fmla="*/ 0 w 2095500"/>
                  <a:gd name="connsiteY1-74" fmla="*/ 1771650 h 2457450"/>
                  <a:gd name="connsiteX2-75" fmla="*/ 0 w 2095500"/>
                  <a:gd name="connsiteY2-76" fmla="*/ 2457450 h 2457450"/>
                  <a:gd name="connsiteX3-77" fmla="*/ 2095500 w 2095500"/>
                  <a:gd name="connsiteY3-78" fmla="*/ 0 h 2457450"/>
                  <a:gd name="connsiteX4-79" fmla="*/ 781050 w 2095500"/>
                  <a:gd name="connsiteY4-80" fmla="*/ 0 h 2457450"/>
                  <a:gd name="connsiteX0-81" fmla="*/ 781050 w 2095500"/>
                  <a:gd name="connsiteY0-82" fmla="*/ 0 h 2457450"/>
                  <a:gd name="connsiteX1-83" fmla="*/ 0 w 2095500"/>
                  <a:gd name="connsiteY1-84" fmla="*/ 1771650 h 2457450"/>
                  <a:gd name="connsiteX2-85" fmla="*/ 0 w 2095500"/>
                  <a:gd name="connsiteY2-86" fmla="*/ 2457450 h 2457450"/>
                  <a:gd name="connsiteX3-87" fmla="*/ 2095500 w 2095500"/>
                  <a:gd name="connsiteY3-88" fmla="*/ 0 h 2457450"/>
                  <a:gd name="connsiteX4-89" fmla="*/ 781050 w 2095500"/>
                  <a:gd name="connsiteY4-90" fmla="*/ 0 h 24574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095500" h="2457450">
                    <a:moveTo>
                      <a:pt x="781050" y="0"/>
                    </a:moveTo>
                    <a:cubicBezTo>
                      <a:pt x="590550" y="1035050"/>
                      <a:pt x="412750" y="1168400"/>
                      <a:pt x="0" y="1771650"/>
                    </a:cubicBezTo>
                    <a:lnTo>
                      <a:pt x="0" y="2457450"/>
                    </a:lnTo>
                    <a:cubicBezTo>
                      <a:pt x="1422400" y="1536700"/>
                      <a:pt x="1841500" y="577850"/>
                      <a:pt x="2095500" y="0"/>
                    </a:cubicBezTo>
                    <a:lnTo>
                      <a:pt x="781050" y="0"/>
                    </a:lnTo>
                    <a:close/>
                  </a:path>
                </a:pathLst>
              </a:custGeom>
              <a:solidFill>
                <a:srgbClr val="3C8C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任意多边形: 形状 12"/>
              <p:cNvSpPr/>
              <p:nvPr/>
            </p:nvSpPr>
            <p:spPr>
              <a:xfrm>
                <a:off x="-1" y="0"/>
                <a:ext cx="2035277" cy="2386824"/>
              </a:xfrm>
              <a:custGeom>
                <a:avLst/>
                <a:gdLst>
                  <a:gd name="connsiteX0" fmla="*/ 781050 w 2095500"/>
                  <a:gd name="connsiteY0" fmla="*/ 0 h 2457450"/>
                  <a:gd name="connsiteX1" fmla="*/ 0 w 2095500"/>
                  <a:gd name="connsiteY1" fmla="*/ 1771650 h 2457450"/>
                  <a:gd name="connsiteX2" fmla="*/ 0 w 2095500"/>
                  <a:gd name="connsiteY2" fmla="*/ 2457450 h 2457450"/>
                  <a:gd name="connsiteX3" fmla="*/ 2095500 w 2095500"/>
                  <a:gd name="connsiteY3" fmla="*/ 0 h 2457450"/>
                  <a:gd name="connsiteX4" fmla="*/ 781050 w 2095500"/>
                  <a:gd name="connsiteY4" fmla="*/ 0 h 2457450"/>
                  <a:gd name="connsiteX0-1" fmla="*/ 781050 w 2095500"/>
                  <a:gd name="connsiteY0-2" fmla="*/ 0 h 2457450"/>
                  <a:gd name="connsiteX1-3" fmla="*/ 0 w 2095500"/>
                  <a:gd name="connsiteY1-4" fmla="*/ 1771650 h 2457450"/>
                  <a:gd name="connsiteX2-5" fmla="*/ 0 w 2095500"/>
                  <a:gd name="connsiteY2-6" fmla="*/ 2457450 h 2457450"/>
                  <a:gd name="connsiteX3-7" fmla="*/ 2095500 w 2095500"/>
                  <a:gd name="connsiteY3-8" fmla="*/ 0 h 2457450"/>
                  <a:gd name="connsiteX4-9" fmla="*/ 781050 w 2095500"/>
                  <a:gd name="connsiteY4-10" fmla="*/ 0 h 2457450"/>
                  <a:gd name="connsiteX0-11" fmla="*/ 781050 w 2095500"/>
                  <a:gd name="connsiteY0-12" fmla="*/ 0 h 2457450"/>
                  <a:gd name="connsiteX1-13" fmla="*/ 0 w 2095500"/>
                  <a:gd name="connsiteY1-14" fmla="*/ 1771650 h 2457450"/>
                  <a:gd name="connsiteX2-15" fmla="*/ 0 w 2095500"/>
                  <a:gd name="connsiteY2-16" fmla="*/ 2457450 h 2457450"/>
                  <a:gd name="connsiteX3-17" fmla="*/ 2095500 w 2095500"/>
                  <a:gd name="connsiteY3-18" fmla="*/ 0 h 2457450"/>
                  <a:gd name="connsiteX4-19" fmla="*/ 781050 w 2095500"/>
                  <a:gd name="connsiteY4-20" fmla="*/ 0 h 2457450"/>
                  <a:gd name="connsiteX0-21" fmla="*/ 781050 w 2095500"/>
                  <a:gd name="connsiteY0-22" fmla="*/ 0 h 2457450"/>
                  <a:gd name="connsiteX1-23" fmla="*/ 0 w 2095500"/>
                  <a:gd name="connsiteY1-24" fmla="*/ 1771650 h 2457450"/>
                  <a:gd name="connsiteX2-25" fmla="*/ 0 w 2095500"/>
                  <a:gd name="connsiteY2-26" fmla="*/ 2457450 h 2457450"/>
                  <a:gd name="connsiteX3-27" fmla="*/ 2095500 w 2095500"/>
                  <a:gd name="connsiteY3-28" fmla="*/ 0 h 2457450"/>
                  <a:gd name="connsiteX4-29" fmla="*/ 781050 w 2095500"/>
                  <a:gd name="connsiteY4-30" fmla="*/ 0 h 2457450"/>
                  <a:gd name="connsiteX0-31" fmla="*/ 781050 w 2095500"/>
                  <a:gd name="connsiteY0-32" fmla="*/ 0 h 2457450"/>
                  <a:gd name="connsiteX1-33" fmla="*/ 0 w 2095500"/>
                  <a:gd name="connsiteY1-34" fmla="*/ 1771650 h 2457450"/>
                  <a:gd name="connsiteX2-35" fmla="*/ 0 w 2095500"/>
                  <a:gd name="connsiteY2-36" fmla="*/ 2457450 h 2457450"/>
                  <a:gd name="connsiteX3-37" fmla="*/ 2095500 w 2095500"/>
                  <a:gd name="connsiteY3-38" fmla="*/ 0 h 2457450"/>
                  <a:gd name="connsiteX4-39" fmla="*/ 781050 w 2095500"/>
                  <a:gd name="connsiteY4-40" fmla="*/ 0 h 2457450"/>
                  <a:gd name="connsiteX0-41" fmla="*/ 781050 w 2095500"/>
                  <a:gd name="connsiteY0-42" fmla="*/ 0 h 2457450"/>
                  <a:gd name="connsiteX1-43" fmla="*/ 0 w 2095500"/>
                  <a:gd name="connsiteY1-44" fmla="*/ 1771650 h 2457450"/>
                  <a:gd name="connsiteX2-45" fmla="*/ 0 w 2095500"/>
                  <a:gd name="connsiteY2-46" fmla="*/ 2457450 h 2457450"/>
                  <a:gd name="connsiteX3-47" fmla="*/ 2095500 w 2095500"/>
                  <a:gd name="connsiteY3-48" fmla="*/ 0 h 2457450"/>
                  <a:gd name="connsiteX4-49" fmla="*/ 781050 w 2095500"/>
                  <a:gd name="connsiteY4-50" fmla="*/ 0 h 2457450"/>
                  <a:gd name="connsiteX0-51" fmla="*/ 781050 w 2095500"/>
                  <a:gd name="connsiteY0-52" fmla="*/ 0 h 2457450"/>
                  <a:gd name="connsiteX1-53" fmla="*/ 0 w 2095500"/>
                  <a:gd name="connsiteY1-54" fmla="*/ 1771650 h 2457450"/>
                  <a:gd name="connsiteX2-55" fmla="*/ 0 w 2095500"/>
                  <a:gd name="connsiteY2-56" fmla="*/ 2457450 h 2457450"/>
                  <a:gd name="connsiteX3-57" fmla="*/ 2095500 w 2095500"/>
                  <a:gd name="connsiteY3-58" fmla="*/ 0 h 2457450"/>
                  <a:gd name="connsiteX4-59" fmla="*/ 781050 w 2095500"/>
                  <a:gd name="connsiteY4-60" fmla="*/ 0 h 2457450"/>
                  <a:gd name="connsiteX0-61" fmla="*/ 781050 w 2095500"/>
                  <a:gd name="connsiteY0-62" fmla="*/ 0 h 2457450"/>
                  <a:gd name="connsiteX1-63" fmla="*/ 0 w 2095500"/>
                  <a:gd name="connsiteY1-64" fmla="*/ 1771650 h 2457450"/>
                  <a:gd name="connsiteX2-65" fmla="*/ 0 w 2095500"/>
                  <a:gd name="connsiteY2-66" fmla="*/ 2457450 h 2457450"/>
                  <a:gd name="connsiteX3-67" fmla="*/ 2095500 w 2095500"/>
                  <a:gd name="connsiteY3-68" fmla="*/ 0 h 2457450"/>
                  <a:gd name="connsiteX4-69" fmla="*/ 781050 w 2095500"/>
                  <a:gd name="connsiteY4-70" fmla="*/ 0 h 2457450"/>
                  <a:gd name="connsiteX0-71" fmla="*/ 781050 w 2095500"/>
                  <a:gd name="connsiteY0-72" fmla="*/ 0 h 2457450"/>
                  <a:gd name="connsiteX1-73" fmla="*/ 0 w 2095500"/>
                  <a:gd name="connsiteY1-74" fmla="*/ 1771650 h 2457450"/>
                  <a:gd name="connsiteX2-75" fmla="*/ 0 w 2095500"/>
                  <a:gd name="connsiteY2-76" fmla="*/ 2457450 h 2457450"/>
                  <a:gd name="connsiteX3-77" fmla="*/ 2095500 w 2095500"/>
                  <a:gd name="connsiteY3-78" fmla="*/ 0 h 2457450"/>
                  <a:gd name="connsiteX4-79" fmla="*/ 781050 w 2095500"/>
                  <a:gd name="connsiteY4-80" fmla="*/ 0 h 2457450"/>
                  <a:gd name="connsiteX0-81" fmla="*/ 781050 w 2095500"/>
                  <a:gd name="connsiteY0-82" fmla="*/ 0 h 2457450"/>
                  <a:gd name="connsiteX1-83" fmla="*/ 0 w 2095500"/>
                  <a:gd name="connsiteY1-84" fmla="*/ 1771650 h 2457450"/>
                  <a:gd name="connsiteX2-85" fmla="*/ 0 w 2095500"/>
                  <a:gd name="connsiteY2-86" fmla="*/ 2457450 h 2457450"/>
                  <a:gd name="connsiteX3-87" fmla="*/ 2095500 w 2095500"/>
                  <a:gd name="connsiteY3-88" fmla="*/ 0 h 2457450"/>
                  <a:gd name="connsiteX4-89" fmla="*/ 781050 w 2095500"/>
                  <a:gd name="connsiteY4-90" fmla="*/ 0 h 245745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2095500" h="2457450">
                    <a:moveTo>
                      <a:pt x="781050" y="0"/>
                    </a:moveTo>
                    <a:cubicBezTo>
                      <a:pt x="590550" y="1035050"/>
                      <a:pt x="412750" y="1168400"/>
                      <a:pt x="0" y="1771650"/>
                    </a:cubicBezTo>
                    <a:lnTo>
                      <a:pt x="0" y="2457450"/>
                    </a:lnTo>
                    <a:cubicBezTo>
                      <a:pt x="1422400" y="1536700"/>
                      <a:pt x="1841500" y="577850"/>
                      <a:pt x="2095500" y="0"/>
                    </a:cubicBezTo>
                    <a:lnTo>
                      <a:pt x="78105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53FCBF"/>
                  </a:gs>
                  <a:gs pos="100000">
                    <a:srgbClr val="00D3FF"/>
                  </a:gs>
                </a:gsLst>
                <a:lin ang="81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197" y="318612"/>
            <a:ext cx="2048716" cy="615925"/>
          </a:xfrm>
          <a:prstGeom prst="rect">
            <a:avLst/>
          </a:prstGeom>
          <a:effectLst>
            <a:outerShdw blurRad="38100" dist="12700" dir="2700000" algn="tl" rotWithShape="0">
              <a:prstClr val="black">
                <a:alpha val="20000"/>
              </a:prstClr>
            </a:outerShdw>
          </a:effec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3"/>
          <p:cNvSpPr>
            <a:spLocks noGrp="1"/>
          </p:cNvSpPr>
          <p:nvPr/>
        </p:nvSpPr>
        <p:spPr>
          <a:xfrm>
            <a:off x="415925" y="6554788"/>
            <a:ext cx="346075" cy="14414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spAutoFit/>
          </a:bodyPr>
          <a:lstStyle>
            <a:defPPr>
              <a:defRPr lang="en-US"/>
            </a:defPPr>
            <a:lvl1pPr marL="0" algn="l" defTabSz="859155" rtl="0" eaLnBrk="1" latinLnBrk="0" hangingPunct="1">
              <a:lnSpc>
                <a:spcPts val="1125"/>
              </a:lnSpc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29895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9790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9050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8945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8840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78735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995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37890" algn="l" defTabSz="859155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7DDA470-64EC-4838-8513-FA93D4181BA0}" type="slidenum">
              <a:rPr lang="en-US" smtClean="0"/>
            </a:fld>
            <a:endParaRPr 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513495" y="2773687"/>
            <a:ext cx="716501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zh-CN" altLang="en-US" sz="4800" b="1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  <a:cs typeface="Lantinghei SC Demibold" charset="-122"/>
              </a:rPr>
              <a:t>数 势 科 技</a:t>
            </a:r>
            <a:endParaRPr lang="zh-CN" altLang="en-US" sz="4800" b="1" dirty="0">
              <a:solidFill>
                <a:schemeClr val="bg1"/>
              </a:solidFill>
              <a:latin typeface="楷体" panose="02010609060101010101" pitchFamily="49" charset="-122"/>
              <a:ea typeface="楷体" panose="02010609060101010101" pitchFamily="49" charset="-122"/>
              <a:cs typeface="Lantinghei SC Demibold" charset="-122"/>
            </a:endParaRPr>
          </a:p>
        </p:txBody>
      </p:sp>
      <p:sp>
        <p:nvSpPr>
          <p:cNvPr id="31" name="TextBox 4"/>
          <p:cNvSpPr txBox="1"/>
          <p:nvPr/>
        </p:nvSpPr>
        <p:spPr>
          <a:xfrm>
            <a:off x="1353580" y="3838160"/>
            <a:ext cx="9484840" cy="13653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楷体-简" panose="02010600040101010101" charset="-122"/>
                <a:ea typeface="楷体-简" panose="02010600040101010101" charset="-122"/>
              </a:rPr>
              <a:t>本文件中（包括任何附件）含有专供明确的个人和目的使用的机密信息，并受法律保护。如果您并非授权阅读者，您应该删除此文件。严禁披露、复制或者分发此文件或者据此采取任何行动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自定义 54">
      <a:dk1>
        <a:srgbClr val="000000"/>
      </a:dk1>
      <a:lt1>
        <a:srgbClr val="FFFFFF"/>
      </a:lt1>
      <a:dk2>
        <a:srgbClr val="0048A9"/>
      </a:dk2>
      <a:lt2>
        <a:srgbClr val="D4FEFF"/>
      </a:lt2>
      <a:accent1>
        <a:srgbClr val="061558"/>
      </a:accent1>
      <a:accent2>
        <a:srgbClr val="00ABFF"/>
      </a:accent2>
      <a:accent3>
        <a:srgbClr val="31FBD5"/>
      </a:accent3>
      <a:accent4>
        <a:srgbClr val="A6FCD5"/>
      </a:accent4>
      <a:accent5>
        <a:srgbClr val="FF4C41"/>
      </a:accent5>
      <a:accent6>
        <a:srgbClr val="FFA900"/>
      </a:accent6>
      <a:hlink>
        <a:srgbClr val="FCAF31"/>
      </a:hlink>
      <a:folHlink>
        <a:srgbClr val="85DFD0"/>
      </a:folHlink>
    </a:clrScheme>
    <a:fontScheme name="Times New Roman-Arial">
      <a:maj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1440" tIns="45720" rIns="91440" bIns="45720" rtlCol="0" anchor="ctr">
        <a:spAutoFit/>
      </a:bodyPr>
      <a:lstStyle>
        <a:defPPr algn="l">
          <a:defRPr sz="2000" smtClean="0">
            <a:solidFill>
              <a:schemeClr val="tx1"/>
            </a:solidFill>
            <a:latin typeface="楷体" panose="02010609060101010101" pitchFamily="49" charset="-122"/>
            <a:ea typeface="楷体" panose="02010609060101010101" pitchFamily="49" charset="-122"/>
            <a:cs typeface="Kaiti SC" charset="-122"/>
            <a:sym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80</Words>
  <Application>WPS 演示</Application>
  <PresentationFormat>宽屏</PresentationFormat>
  <Paragraphs>91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5</vt:i4>
      </vt:variant>
    </vt:vector>
  </HeadingPairs>
  <TitlesOfParts>
    <vt:vector size="22" baseType="lpstr">
      <vt:lpstr>Arial</vt:lpstr>
      <vt:lpstr>宋体</vt:lpstr>
      <vt:lpstr>Wingdings</vt:lpstr>
      <vt:lpstr>楷体</vt:lpstr>
      <vt:lpstr>Kaiti SC</vt:lpstr>
      <vt:lpstr>微软雅黑</vt:lpstr>
      <vt:lpstr>Arial</vt:lpstr>
      <vt:lpstr>楷体-简</vt:lpstr>
      <vt:lpstr>Times New Roman</vt:lpstr>
      <vt:lpstr>Lantinghei SC Demibold</vt:lpstr>
      <vt:lpstr>Arial Unicode MS</vt:lpstr>
      <vt:lpstr>等线</vt:lpstr>
      <vt:lpstr>黑体</vt:lpstr>
      <vt:lpstr>Calibri</vt:lpstr>
      <vt:lpstr>Office 主题</vt:lpstr>
      <vt:lpstr>Paint.Picture</vt:lpstr>
      <vt:lpstr>TCLayout.ActiveDocument.1</vt:lpstr>
      <vt:lpstr>PowerPoint 演示文稿</vt:lpstr>
      <vt:lpstr>Digitforce Talent Pool 数势科技专业人才图谱</vt:lpstr>
      <vt:lpstr>PowerPoint 演示文稿</vt:lpstr>
      <vt:lpstr>技术架构师 –张越 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Tony TAN</dc:creator>
  <cp:lastModifiedBy>天蓝色</cp:lastModifiedBy>
  <cp:revision>129</cp:revision>
  <dcterms:created xsi:type="dcterms:W3CDTF">2020-08-05T06:55:00Z</dcterms:created>
  <dcterms:modified xsi:type="dcterms:W3CDTF">2020-12-14T07:3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132</vt:lpwstr>
  </property>
</Properties>
</file>